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theme/theme3.xml" ContentType="application/vnd.openxmlformats-officedocument.theme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4.xml" ContentType="application/vnd.openxmlformats-officedocument.theme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5.xml" ContentType="application/vnd.openxmlformats-officedocument.theme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media/image68.jpg" ContentType="image/jpg"/>
  <Override PartName="/ppt/media/image69.jpg" ContentType="image/jpg"/>
  <Override PartName="/ppt/media/image70.jpg" ContentType="image/jpg"/>
  <Override PartName="/ppt/media/image71.jpg" ContentType="image/jpg"/>
  <Override PartName="/ppt/media/image72.jpg" ContentType="image/jpg"/>
  <Override PartName="/ppt/media/image73.jpg" ContentType="image/jpg"/>
  <Override PartName="/ppt/media/image74.jpg" ContentType="image/jpg"/>
  <Override PartName="/ppt/media/image75.jpg" ContentType="image/jpg"/>
  <Override PartName="/ppt/media/image76.jpg" ContentType="image/jpg"/>
  <Override PartName="/ppt/media/image79.jpg" ContentType="image/jpg"/>
  <Override PartName="/ppt/media/image80.jpg" ContentType="image/jpg"/>
  <Override PartName="/ppt/media/image83.jpg" ContentType="image/jpg"/>
  <Override PartName="/ppt/media/image84.jpg" ContentType="image/jpg"/>
  <Override PartName="/ppt/media/image85.jpg" ContentType="image/jpg"/>
  <Override PartName="/ppt/media/image86.jpg" ContentType="image/jpg"/>
  <Override PartName="/ppt/media/image94.jpg" ContentType="image/jpg"/>
  <Override PartName="/ppt/media/image107.jpg" ContentType="image/jpg"/>
  <Override PartName="/ppt/media/image113.jpg" ContentType="image/jpg"/>
  <Override PartName="/ppt/media/image123.jpg" ContentType="image/jpg"/>
  <Override PartName="/ppt/media/image126.jpg" ContentType="image/jpg"/>
  <Override PartName="/ppt/media/image128.jpg" ContentType="image/jpg"/>
  <Override PartName="/ppt/media/image133.jpg" ContentType="image/jpg"/>
  <Override PartName="/ppt/media/image134.jpg" ContentType="image/jpg"/>
  <Override PartName="/ppt/media/image135.jpg" ContentType="image/jpg"/>
  <Override PartName="/ppt/media/image136.jpg" ContentType="image/jpg"/>
  <Override PartName="/ppt/media/image137.jpg" ContentType="image/jpg"/>
  <Override PartName="/ppt/media/image138.jpg" ContentType="image/jpg"/>
  <Override PartName="/ppt/media/image139.jpg" ContentType="image/jpg"/>
  <Override PartName="/ppt/media/image140.jpg" ContentType="image/jpg"/>
  <Override PartName="/ppt/media/image141.jpg" ContentType="image/jpg"/>
  <Override PartName="/ppt/media/image142.jpg" ContentType="image/jpg"/>
  <Override PartName="/ppt/media/image143.jpg" ContentType="image/jpg"/>
  <Override PartName="/ppt/media/image144.jpg" ContentType="image/jpg"/>
  <Override PartName="/ppt/media/image145.jpg" ContentType="image/jpg"/>
  <Override PartName="/ppt/media/image146.jpg" ContentType="image/jpg"/>
  <Override PartName="/ppt/media/image147.jpg" ContentType="image/jpg"/>
  <Override PartName="/ppt/media/image148.jpg" ContentType="image/jpg"/>
  <Override PartName="/ppt/media/image149.jpg" ContentType="image/jpg"/>
  <Override PartName="/ppt/media/image150.jpg" ContentType="image/jpg"/>
  <Override PartName="/ppt/media/image151.jpg" ContentType="image/jpg"/>
  <Override PartName="/ppt/media/image153.jpg" ContentType="image/jpg"/>
  <Override PartName="/ppt/media/image156.jpg" ContentType="image/jpg"/>
  <Override PartName="/ppt/media/image158.jpg" ContentType="image/jpg"/>
  <Override PartName="/ppt/webextensions/webextension1.xml" ContentType="application/vnd.ms-office.webextension+xml"/>
  <Override PartName="/ppt/media/image167.jpg" ContentType="image/jpg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240" r:id="rId1"/>
    <p:sldMasterId id="2147483787" r:id="rId2"/>
    <p:sldMasterId id="2147485243" r:id="rId3"/>
    <p:sldMasterId id="2147483660" r:id="rId4"/>
    <p:sldMasterId id="2147485342" r:id="rId5"/>
    <p:sldMasterId id="2147483648" r:id="rId6"/>
  </p:sldMasterIdLst>
  <p:notesMasterIdLst>
    <p:notesMasterId r:id="rId76"/>
  </p:notesMasterIdLst>
  <p:sldIdLst>
    <p:sldId id="257" r:id="rId7"/>
    <p:sldId id="277" r:id="rId8"/>
    <p:sldId id="276" r:id="rId9"/>
    <p:sldId id="278" r:id="rId10"/>
    <p:sldId id="279" r:id="rId11"/>
    <p:sldId id="280" r:id="rId12"/>
    <p:sldId id="281" r:id="rId13"/>
    <p:sldId id="282" r:id="rId14"/>
    <p:sldId id="283" r:id="rId15"/>
    <p:sldId id="284" r:id="rId16"/>
    <p:sldId id="285" r:id="rId17"/>
    <p:sldId id="286" r:id="rId18"/>
    <p:sldId id="287" r:id="rId19"/>
    <p:sldId id="288" r:id="rId20"/>
    <p:sldId id="289" r:id="rId21"/>
    <p:sldId id="292" r:id="rId22"/>
    <p:sldId id="293" r:id="rId23"/>
    <p:sldId id="294" r:id="rId24"/>
    <p:sldId id="296" r:id="rId25"/>
    <p:sldId id="297" r:id="rId26"/>
    <p:sldId id="298" r:id="rId27"/>
    <p:sldId id="299" r:id="rId28"/>
    <p:sldId id="300" r:id="rId29"/>
    <p:sldId id="301" r:id="rId30"/>
    <p:sldId id="302" r:id="rId31"/>
    <p:sldId id="303" r:id="rId32"/>
    <p:sldId id="304" r:id="rId33"/>
    <p:sldId id="305" r:id="rId34"/>
    <p:sldId id="323" r:id="rId35"/>
    <p:sldId id="322" r:id="rId36"/>
    <p:sldId id="2483" r:id="rId37"/>
    <p:sldId id="399" r:id="rId38"/>
    <p:sldId id="268" r:id="rId39"/>
    <p:sldId id="260" r:id="rId40"/>
    <p:sldId id="395" r:id="rId41"/>
    <p:sldId id="374" r:id="rId42"/>
    <p:sldId id="400" r:id="rId43"/>
    <p:sldId id="295" r:id="rId44"/>
    <p:sldId id="256" r:id="rId45"/>
    <p:sldId id="401" r:id="rId46"/>
    <p:sldId id="2484" r:id="rId47"/>
    <p:sldId id="270" r:id="rId48"/>
    <p:sldId id="269" r:id="rId49"/>
    <p:sldId id="266" r:id="rId50"/>
    <p:sldId id="403" r:id="rId51"/>
    <p:sldId id="263" r:id="rId52"/>
    <p:sldId id="404" r:id="rId53"/>
    <p:sldId id="264" r:id="rId54"/>
    <p:sldId id="271" r:id="rId55"/>
    <p:sldId id="405" r:id="rId56"/>
    <p:sldId id="265" r:id="rId57"/>
    <p:sldId id="406" r:id="rId58"/>
    <p:sldId id="407" r:id="rId59"/>
    <p:sldId id="275" r:id="rId60"/>
    <p:sldId id="408" r:id="rId61"/>
    <p:sldId id="272" r:id="rId62"/>
    <p:sldId id="273" r:id="rId63"/>
    <p:sldId id="274" r:id="rId64"/>
    <p:sldId id="267" r:id="rId65"/>
    <p:sldId id="409" r:id="rId66"/>
    <p:sldId id="410" r:id="rId67"/>
    <p:sldId id="411" r:id="rId68"/>
    <p:sldId id="412" r:id="rId69"/>
    <p:sldId id="413" r:id="rId70"/>
    <p:sldId id="414" r:id="rId71"/>
    <p:sldId id="415" r:id="rId72"/>
    <p:sldId id="416" r:id="rId73"/>
    <p:sldId id="417" r:id="rId74"/>
    <p:sldId id="2482" r:id="rId7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F4372F-98B1-22A2-B074-B21C1BD7A988}" v="8" dt="2024-05-29T14:55:08.197"/>
    <p1510:client id="{E8ECD9F7-AE75-142D-4329-42F181DF05A1}" v="4" dt="2024-05-28T15:50:35.46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65" autoAdjust="0"/>
    <p:restoredTop sz="94660"/>
  </p:normalViewPr>
  <p:slideViewPr>
    <p:cSldViewPr snapToGrid="0">
      <p:cViewPr varScale="1">
        <p:scale>
          <a:sx n="101" d="100"/>
          <a:sy n="101" d="100"/>
        </p:scale>
        <p:origin x="75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16" Type="http://schemas.openxmlformats.org/officeDocument/2006/relationships/slide" Target="slides/slide10.xml"/><Relationship Id="rId11" Type="http://schemas.openxmlformats.org/officeDocument/2006/relationships/slide" Target="slides/slide5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74" Type="http://schemas.openxmlformats.org/officeDocument/2006/relationships/slide" Target="slides/slide68.xml"/><Relationship Id="rId79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5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presProps" Target="presProp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viewProps" Target="viewProps.xml"/><Relationship Id="rId81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3.xml"/><Relationship Id="rId24" Type="http://schemas.openxmlformats.org/officeDocument/2006/relationships/slide" Target="slides/slide18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66" Type="http://schemas.openxmlformats.org/officeDocument/2006/relationships/slide" Target="slides/slide60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9.png"/><Relationship Id="rId2" Type="http://schemas.openxmlformats.org/officeDocument/2006/relationships/image" Target="../media/image208.png"/><Relationship Id="rId1" Type="http://schemas.openxmlformats.org/officeDocument/2006/relationships/image" Target="../media/image207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9.png"/><Relationship Id="rId2" Type="http://schemas.openxmlformats.org/officeDocument/2006/relationships/image" Target="../media/image208.png"/><Relationship Id="rId1" Type="http://schemas.openxmlformats.org/officeDocument/2006/relationships/image" Target="../media/image20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D6806FE-0586-44F4-BC8E-76985F5AE7AB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7E097C5-86D7-447D-8C37-B1270A60F073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Global aim: Reduce infant mortality in Missouri and the St. Louis Metro East Region</a:t>
          </a:r>
        </a:p>
      </dgm:t>
    </dgm:pt>
    <dgm:pt modelId="{03CDCF56-F735-4DF6-8915-7747337EEBF8}" type="parTrans" cxnId="{AAE389FD-D236-4336-B8B2-4AF2BA987759}">
      <dgm:prSet/>
      <dgm:spPr/>
      <dgm:t>
        <a:bodyPr/>
        <a:lstStyle/>
        <a:p>
          <a:endParaRPr lang="en-US"/>
        </a:p>
      </dgm:t>
    </dgm:pt>
    <dgm:pt modelId="{EE2C6225-85F7-4AB7-94B1-6C9D21C496B2}" type="sibTrans" cxnId="{AAE389FD-D236-4336-B8B2-4AF2BA987759}">
      <dgm:prSet/>
      <dgm:spPr/>
      <dgm:t>
        <a:bodyPr/>
        <a:lstStyle/>
        <a:p>
          <a:endParaRPr lang="en-US"/>
        </a:p>
      </dgm:t>
    </dgm:pt>
    <dgm:pt modelId="{580858D7-577F-4E0E-8D29-89BDF00C6D4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BJC HSO Inpatient: </a:t>
          </a:r>
        </a:p>
      </dgm:t>
    </dgm:pt>
    <dgm:pt modelId="{3CE90CCF-D46B-4635-88AA-A17FE953DBB8}" type="parTrans" cxnId="{C348A42F-DF41-4896-9924-86F8C1DA33D9}">
      <dgm:prSet/>
      <dgm:spPr/>
      <dgm:t>
        <a:bodyPr/>
        <a:lstStyle/>
        <a:p>
          <a:endParaRPr lang="en-US"/>
        </a:p>
      </dgm:t>
    </dgm:pt>
    <dgm:pt modelId="{643E3243-662B-4002-90FE-EC56571E41E3}" type="sibTrans" cxnId="{C348A42F-DF41-4896-9924-86F8C1DA33D9}">
      <dgm:prSet/>
      <dgm:spPr/>
      <dgm:t>
        <a:bodyPr/>
        <a:lstStyle/>
        <a:p>
          <a:endParaRPr lang="en-US"/>
        </a:p>
      </dgm:t>
    </dgm:pt>
    <dgm:pt modelId="{FB6F6662-A1C0-4C81-805C-1B9BEAD2359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Greater than 90% of infants less than 12 months of age will be placed in a safe sleep environment as recommended by the AAP by end of 06/30/2021</a:t>
          </a:r>
        </a:p>
      </dgm:t>
    </dgm:pt>
    <dgm:pt modelId="{091D0A90-7C7E-4C7D-97A9-296678979DB6}" type="parTrans" cxnId="{31453A91-2D61-4B2A-A698-C9A6CFEDCD05}">
      <dgm:prSet/>
      <dgm:spPr/>
      <dgm:t>
        <a:bodyPr/>
        <a:lstStyle/>
        <a:p>
          <a:endParaRPr lang="en-US"/>
        </a:p>
      </dgm:t>
    </dgm:pt>
    <dgm:pt modelId="{D93DD63B-051C-4A31-A18D-CB80EE47DB44}" type="sibTrans" cxnId="{31453A91-2D61-4B2A-A698-C9A6CFEDCD05}">
      <dgm:prSet/>
      <dgm:spPr/>
      <dgm:t>
        <a:bodyPr/>
        <a:lstStyle/>
        <a:p>
          <a:endParaRPr lang="en-US"/>
        </a:p>
      </dgm:t>
    </dgm:pt>
    <dgm:pt modelId="{282C40D5-A40A-4CBD-B938-CB6E8EFFA869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Community (2021):</a:t>
          </a:r>
        </a:p>
      </dgm:t>
    </dgm:pt>
    <dgm:pt modelId="{4559A7ED-5196-4545-8785-00A2A342CA14}" type="parTrans" cxnId="{10206174-F6BD-4984-94A9-B8B7F95B8BA5}">
      <dgm:prSet/>
      <dgm:spPr/>
      <dgm:t>
        <a:bodyPr/>
        <a:lstStyle/>
        <a:p>
          <a:endParaRPr lang="en-US"/>
        </a:p>
      </dgm:t>
    </dgm:pt>
    <dgm:pt modelId="{A1060BD2-0265-4DF7-8FE6-3AF666DFB2DA}" type="sibTrans" cxnId="{10206174-F6BD-4984-94A9-B8B7F95B8BA5}">
      <dgm:prSet/>
      <dgm:spPr/>
      <dgm:t>
        <a:bodyPr/>
        <a:lstStyle/>
        <a:p>
          <a:endParaRPr lang="en-US"/>
        </a:p>
      </dgm:t>
    </dgm:pt>
    <dgm:pt modelId="{9B49A800-65C6-4D06-9C27-530A1DF364A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75% of parents evaluated who are discharged from a BJC HSO will demonstrate in-home safe sleep practices by end of 12/31/2021</a:t>
          </a:r>
        </a:p>
      </dgm:t>
    </dgm:pt>
    <dgm:pt modelId="{E9D35DB1-730B-4419-A40B-FDCDDCE07D00}" type="parTrans" cxnId="{91D5B16B-AA9A-4B9B-91D7-45CD80802CAE}">
      <dgm:prSet/>
      <dgm:spPr/>
      <dgm:t>
        <a:bodyPr/>
        <a:lstStyle/>
        <a:p>
          <a:endParaRPr lang="en-US"/>
        </a:p>
      </dgm:t>
    </dgm:pt>
    <dgm:pt modelId="{B509C6D3-D80A-4E2F-9C08-E595C3A57892}" type="sibTrans" cxnId="{91D5B16B-AA9A-4B9B-91D7-45CD80802CAE}">
      <dgm:prSet/>
      <dgm:spPr/>
      <dgm:t>
        <a:bodyPr/>
        <a:lstStyle/>
        <a:p>
          <a:endParaRPr lang="en-US"/>
        </a:p>
      </dgm:t>
    </dgm:pt>
    <dgm:pt modelId="{4DBE5FCA-90B8-49ED-9E86-164F4A16A742}" type="pres">
      <dgm:prSet presAssocID="{0D6806FE-0586-44F4-BC8E-76985F5AE7AB}" presName="root" presStyleCnt="0">
        <dgm:presLayoutVars>
          <dgm:dir/>
          <dgm:resizeHandles val="exact"/>
        </dgm:presLayoutVars>
      </dgm:prSet>
      <dgm:spPr/>
    </dgm:pt>
    <dgm:pt modelId="{B2997FDB-1D11-4B37-8710-C412DF47BE29}" type="pres">
      <dgm:prSet presAssocID="{97E097C5-86D7-447D-8C37-B1270A60F073}" presName="compNode" presStyleCnt="0"/>
      <dgm:spPr/>
    </dgm:pt>
    <dgm:pt modelId="{B9950EB6-3534-44F1-B79C-697AAB16278E}" type="pres">
      <dgm:prSet presAssocID="{97E097C5-86D7-447D-8C37-B1270A60F073}" presName="bgRect" presStyleLbl="bgShp" presStyleIdx="0" presStyleCnt="3"/>
      <dgm:spPr/>
    </dgm:pt>
    <dgm:pt modelId="{F0058A13-92E3-4DBC-81BE-DF869177F89C}" type="pres">
      <dgm:prSet presAssocID="{97E097C5-86D7-447D-8C37-B1270A60F073}" presName="iconRect" presStyleLbl="node1" presStyleIdx="0" presStyleCnt="3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arth Globe Americas"/>
        </a:ext>
      </dgm:extLst>
    </dgm:pt>
    <dgm:pt modelId="{5A137039-38A5-4BE8-AD09-8D2690BAD398}" type="pres">
      <dgm:prSet presAssocID="{97E097C5-86D7-447D-8C37-B1270A60F073}" presName="spaceRect" presStyleCnt="0"/>
      <dgm:spPr/>
    </dgm:pt>
    <dgm:pt modelId="{459F4038-A637-4825-A062-AC843782352F}" type="pres">
      <dgm:prSet presAssocID="{97E097C5-86D7-447D-8C37-B1270A60F073}" presName="parTx" presStyleLbl="revTx" presStyleIdx="0" presStyleCnt="5">
        <dgm:presLayoutVars>
          <dgm:chMax val="0"/>
          <dgm:chPref val="0"/>
        </dgm:presLayoutVars>
      </dgm:prSet>
      <dgm:spPr/>
    </dgm:pt>
    <dgm:pt modelId="{309877A8-32A0-4CDE-B425-048B412FB147}" type="pres">
      <dgm:prSet presAssocID="{EE2C6225-85F7-4AB7-94B1-6C9D21C496B2}" presName="sibTrans" presStyleCnt="0"/>
      <dgm:spPr/>
    </dgm:pt>
    <dgm:pt modelId="{02950F5E-419E-470F-B17B-FBAB3206BDD0}" type="pres">
      <dgm:prSet presAssocID="{580858D7-577F-4E0E-8D29-89BDF00C6D4B}" presName="compNode" presStyleCnt="0"/>
      <dgm:spPr/>
    </dgm:pt>
    <dgm:pt modelId="{A328EFA5-C83B-4C6F-BFC9-9836B4038D72}" type="pres">
      <dgm:prSet presAssocID="{580858D7-577F-4E0E-8D29-89BDF00C6D4B}" presName="bgRect" presStyleLbl="bgShp" presStyleIdx="1" presStyleCnt="3" custLinFactNeighborX="-511" custLinFactNeighborY="-2813"/>
      <dgm:spPr/>
    </dgm:pt>
    <dgm:pt modelId="{92838CF9-0D6D-4D35-9845-ADD7973D2FB4}" type="pres">
      <dgm:prSet presAssocID="{580858D7-577F-4E0E-8D29-89BDF00C6D4B}" presName="iconRect" presStyleLbl="node1" presStyleIdx="1" presStyleCnt="3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roller"/>
        </a:ext>
      </dgm:extLst>
    </dgm:pt>
    <dgm:pt modelId="{FF944589-BD9F-4889-8AD9-B05B25DB5BF0}" type="pres">
      <dgm:prSet presAssocID="{580858D7-577F-4E0E-8D29-89BDF00C6D4B}" presName="spaceRect" presStyleCnt="0"/>
      <dgm:spPr/>
    </dgm:pt>
    <dgm:pt modelId="{FA7BC803-0A86-4C38-B84E-C00A48127D09}" type="pres">
      <dgm:prSet presAssocID="{580858D7-577F-4E0E-8D29-89BDF00C6D4B}" presName="parTx" presStyleLbl="revTx" presStyleIdx="1" presStyleCnt="5">
        <dgm:presLayoutVars>
          <dgm:chMax val="0"/>
          <dgm:chPref val="0"/>
        </dgm:presLayoutVars>
      </dgm:prSet>
      <dgm:spPr/>
    </dgm:pt>
    <dgm:pt modelId="{2B0DCC42-508C-4CAA-95F9-1C14745BF333}" type="pres">
      <dgm:prSet presAssocID="{580858D7-577F-4E0E-8D29-89BDF00C6D4B}" presName="desTx" presStyleLbl="revTx" presStyleIdx="2" presStyleCnt="5" custScaleX="127285" custLinFactNeighborX="-8557" custLinFactNeighborY="749">
        <dgm:presLayoutVars/>
      </dgm:prSet>
      <dgm:spPr/>
    </dgm:pt>
    <dgm:pt modelId="{ADB54DC6-B092-461C-B756-1FC06983B66D}" type="pres">
      <dgm:prSet presAssocID="{643E3243-662B-4002-90FE-EC56571E41E3}" presName="sibTrans" presStyleCnt="0"/>
      <dgm:spPr/>
    </dgm:pt>
    <dgm:pt modelId="{5B62DC27-0611-4306-9772-5C97BE0AC5BE}" type="pres">
      <dgm:prSet presAssocID="{282C40D5-A40A-4CBD-B938-CB6E8EFFA869}" presName="compNode" presStyleCnt="0"/>
      <dgm:spPr/>
    </dgm:pt>
    <dgm:pt modelId="{21CBC255-7FF5-4318-B9AD-F6C3CB9BD202}" type="pres">
      <dgm:prSet presAssocID="{282C40D5-A40A-4CBD-B938-CB6E8EFFA869}" presName="bgRect" presStyleLbl="bgShp" presStyleIdx="2" presStyleCnt="3"/>
      <dgm:spPr/>
    </dgm:pt>
    <dgm:pt modelId="{40EEC327-0F1B-4BF5-8785-F2CA800F7BEC}" type="pres">
      <dgm:prSet presAssocID="{282C40D5-A40A-4CBD-B938-CB6E8EFFA869}" presName="iconRect" presStyleLbl="node1" presStyleIdx="2" presStyleCnt="3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keleton"/>
        </a:ext>
      </dgm:extLst>
    </dgm:pt>
    <dgm:pt modelId="{090C4012-3BC6-4957-97FA-ECE08C504B23}" type="pres">
      <dgm:prSet presAssocID="{282C40D5-A40A-4CBD-B938-CB6E8EFFA869}" presName="spaceRect" presStyleCnt="0"/>
      <dgm:spPr/>
    </dgm:pt>
    <dgm:pt modelId="{5A285C28-2BE3-469D-B3A4-64F6A8F75884}" type="pres">
      <dgm:prSet presAssocID="{282C40D5-A40A-4CBD-B938-CB6E8EFFA869}" presName="parTx" presStyleLbl="revTx" presStyleIdx="3" presStyleCnt="5">
        <dgm:presLayoutVars>
          <dgm:chMax val="0"/>
          <dgm:chPref val="0"/>
        </dgm:presLayoutVars>
      </dgm:prSet>
      <dgm:spPr/>
    </dgm:pt>
    <dgm:pt modelId="{9D84FB69-FF40-41EF-A767-DF207146BA6A}" type="pres">
      <dgm:prSet presAssocID="{282C40D5-A40A-4CBD-B938-CB6E8EFFA869}" presName="desTx" presStyleLbl="revTx" presStyleIdx="4" presStyleCnt="5" custScaleX="109278" custLinFactNeighborX="-15688" custLinFactNeighborY="1123">
        <dgm:presLayoutVars/>
      </dgm:prSet>
      <dgm:spPr/>
    </dgm:pt>
  </dgm:ptLst>
  <dgm:cxnLst>
    <dgm:cxn modelId="{C348A42F-DF41-4896-9924-86F8C1DA33D9}" srcId="{0D6806FE-0586-44F4-BC8E-76985F5AE7AB}" destId="{580858D7-577F-4E0E-8D29-89BDF00C6D4B}" srcOrd="1" destOrd="0" parTransId="{3CE90CCF-D46B-4635-88AA-A17FE953DBB8}" sibTransId="{643E3243-662B-4002-90FE-EC56571E41E3}"/>
    <dgm:cxn modelId="{91D5B16B-AA9A-4B9B-91D7-45CD80802CAE}" srcId="{282C40D5-A40A-4CBD-B938-CB6E8EFFA869}" destId="{9B49A800-65C6-4D06-9C27-530A1DF364AB}" srcOrd="0" destOrd="0" parTransId="{E9D35DB1-730B-4419-A40B-FDCDDCE07D00}" sibTransId="{B509C6D3-D80A-4E2F-9C08-E595C3A57892}"/>
    <dgm:cxn modelId="{5B69116E-CA32-4BA9-9C6B-44699E76D394}" type="presOf" srcId="{580858D7-577F-4E0E-8D29-89BDF00C6D4B}" destId="{FA7BC803-0A86-4C38-B84E-C00A48127D09}" srcOrd="0" destOrd="0" presId="urn:microsoft.com/office/officeart/2018/2/layout/IconVerticalSolidList"/>
    <dgm:cxn modelId="{10206174-F6BD-4984-94A9-B8B7F95B8BA5}" srcId="{0D6806FE-0586-44F4-BC8E-76985F5AE7AB}" destId="{282C40D5-A40A-4CBD-B938-CB6E8EFFA869}" srcOrd="2" destOrd="0" parTransId="{4559A7ED-5196-4545-8785-00A2A342CA14}" sibTransId="{A1060BD2-0265-4DF7-8FE6-3AF666DFB2DA}"/>
    <dgm:cxn modelId="{31453A91-2D61-4B2A-A698-C9A6CFEDCD05}" srcId="{580858D7-577F-4E0E-8D29-89BDF00C6D4B}" destId="{FB6F6662-A1C0-4C81-805C-1B9BEAD2359F}" srcOrd="0" destOrd="0" parTransId="{091D0A90-7C7E-4C7D-97A9-296678979DB6}" sibTransId="{D93DD63B-051C-4A31-A18D-CB80EE47DB44}"/>
    <dgm:cxn modelId="{2997BF98-03DE-4B6E-AF2E-A1106FB1A611}" type="presOf" srcId="{282C40D5-A40A-4CBD-B938-CB6E8EFFA869}" destId="{5A285C28-2BE3-469D-B3A4-64F6A8F75884}" srcOrd="0" destOrd="0" presId="urn:microsoft.com/office/officeart/2018/2/layout/IconVerticalSolidList"/>
    <dgm:cxn modelId="{1F731EB4-0572-4D17-8C8E-A4079FB3847A}" type="presOf" srcId="{97E097C5-86D7-447D-8C37-B1270A60F073}" destId="{459F4038-A637-4825-A062-AC843782352F}" srcOrd="0" destOrd="0" presId="urn:microsoft.com/office/officeart/2018/2/layout/IconVerticalSolidList"/>
    <dgm:cxn modelId="{6846D1C1-AA67-454F-9AEC-1214FE188CE8}" type="presOf" srcId="{FB6F6662-A1C0-4C81-805C-1B9BEAD2359F}" destId="{2B0DCC42-508C-4CAA-95F9-1C14745BF333}" srcOrd="0" destOrd="0" presId="urn:microsoft.com/office/officeart/2018/2/layout/IconVerticalSolidList"/>
    <dgm:cxn modelId="{EFEADBE7-D762-4BCB-B32C-7E93DE6A3D15}" type="presOf" srcId="{9B49A800-65C6-4D06-9C27-530A1DF364AB}" destId="{9D84FB69-FF40-41EF-A767-DF207146BA6A}" srcOrd="0" destOrd="0" presId="urn:microsoft.com/office/officeart/2018/2/layout/IconVerticalSolidList"/>
    <dgm:cxn modelId="{D4CC34FC-88EF-4D2A-B13D-C4C9117C325C}" type="presOf" srcId="{0D6806FE-0586-44F4-BC8E-76985F5AE7AB}" destId="{4DBE5FCA-90B8-49ED-9E86-164F4A16A742}" srcOrd="0" destOrd="0" presId="urn:microsoft.com/office/officeart/2018/2/layout/IconVerticalSolidList"/>
    <dgm:cxn modelId="{AAE389FD-D236-4336-B8B2-4AF2BA987759}" srcId="{0D6806FE-0586-44F4-BC8E-76985F5AE7AB}" destId="{97E097C5-86D7-447D-8C37-B1270A60F073}" srcOrd="0" destOrd="0" parTransId="{03CDCF56-F735-4DF6-8915-7747337EEBF8}" sibTransId="{EE2C6225-85F7-4AB7-94B1-6C9D21C496B2}"/>
    <dgm:cxn modelId="{26877A97-385F-47F4-9938-67884D68E957}" type="presParOf" srcId="{4DBE5FCA-90B8-49ED-9E86-164F4A16A742}" destId="{B2997FDB-1D11-4B37-8710-C412DF47BE29}" srcOrd="0" destOrd="0" presId="urn:microsoft.com/office/officeart/2018/2/layout/IconVerticalSolidList"/>
    <dgm:cxn modelId="{6A294A6C-1CBF-40CA-A933-74DD18068638}" type="presParOf" srcId="{B2997FDB-1D11-4B37-8710-C412DF47BE29}" destId="{B9950EB6-3534-44F1-B79C-697AAB16278E}" srcOrd="0" destOrd="0" presId="urn:microsoft.com/office/officeart/2018/2/layout/IconVerticalSolidList"/>
    <dgm:cxn modelId="{C789BC2F-3E5D-4042-B4ED-828B8E5072D0}" type="presParOf" srcId="{B2997FDB-1D11-4B37-8710-C412DF47BE29}" destId="{F0058A13-92E3-4DBC-81BE-DF869177F89C}" srcOrd="1" destOrd="0" presId="urn:microsoft.com/office/officeart/2018/2/layout/IconVerticalSolidList"/>
    <dgm:cxn modelId="{1FC2AC6B-508B-4DF1-9D25-2462FAE2FF8E}" type="presParOf" srcId="{B2997FDB-1D11-4B37-8710-C412DF47BE29}" destId="{5A137039-38A5-4BE8-AD09-8D2690BAD398}" srcOrd="2" destOrd="0" presId="urn:microsoft.com/office/officeart/2018/2/layout/IconVerticalSolidList"/>
    <dgm:cxn modelId="{163761B1-0A16-4563-BCA8-38A3760D98D4}" type="presParOf" srcId="{B2997FDB-1D11-4B37-8710-C412DF47BE29}" destId="{459F4038-A637-4825-A062-AC843782352F}" srcOrd="3" destOrd="0" presId="urn:microsoft.com/office/officeart/2018/2/layout/IconVerticalSolidList"/>
    <dgm:cxn modelId="{F739F683-8631-4266-B0AA-346F261787BE}" type="presParOf" srcId="{4DBE5FCA-90B8-49ED-9E86-164F4A16A742}" destId="{309877A8-32A0-4CDE-B425-048B412FB147}" srcOrd="1" destOrd="0" presId="urn:microsoft.com/office/officeart/2018/2/layout/IconVerticalSolidList"/>
    <dgm:cxn modelId="{091CE368-24B4-4771-8CA6-19E704F19B0A}" type="presParOf" srcId="{4DBE5FCA-90B8-49ED-9E86-164F4A16A742}" destId="{02950F5E-419E-470F-B17B-FBAB3206BDD0}" srcOrd="2" destOrd="0" presId="urn:microsoft.com/office/officeart/2018/2/layout/IconVerticalSolidList"/>
    <dgm:cxn modelId="{B583AF9E-3F42-4089-B70E-14869C59E0CC}" type="presParOf" srcId="{02950F5E-419E-470F-B17B-FBAB3206BDD0}" destId="{A328EFA5-C83B-4C6F-BFC9-9836B4038D72}" srcOrd="0" destOrd="0" presId="urn:microsoft.com/office/officeart/2018/2/layout/IconVerticalSolidList"/>
    <dgm:cxn modelId="{E8E70E1F-621B-401A-82B3-4186DDDA634D}" type="presParOf" srcId="{02950F5E-419E-470F-B17B-FBAB3206BDD0}" destId="{92838CF9-0D6D-4D35-9845-ADD7973D2FB4}" srcOrd="1" destOrd="0" presId="urn:microsoft.com/office/officeart/2018/2/layout/IconVerticalSolidList"/>
    <dgm:cxn modelId="{CF28524F-EE9B-4999-93E8-CA22D7D89DCD}" type="presParOf" srcId="{02950F5E-419E-470F-B17B-FBAB3206BDD0}" destId="{FF944589-BD9F-4889-8AD9-B05B25DB5BF0}" srcOrd="2" destOrd="0" presId="urn:microsoft.com/office/officeart/2018/2/layout/IconVerticalSolidList"/>
    <dgm:cxn modelId="{635CD340-1DF2-4420-8CDB-7D9406EA52E8}" type="presParOf" srcId="{02950F5E-419E-470F-B17B-FBAB3206BDD0}" destId="{FA7BC803-0A86-4C38-B84E-C00A48127D09}" srcOrd="3" destOrd="0" presId="urn:microsoft.com/office/officeart/2018/2/layout/IconVerticalSolidList"/>
    <dgm:cxn modelId="{CB1955C9-8B53-4634-A2C7-344F2CD805F0}" type="presParOf" srcId="{02950F5E-419E-470F-B17B-FBAB3206BDD0}" destId="{2B0DCC42-508C-4CAA-95F9-1C14745BF333}" srcOrd="4" destOrd="0" presId="urn:microsoft.com/office/officeart/2018/2/layout/IconVerticalSolidList"/>
    <dgm:cxn modelId="{CCF231B8-FE06-4370-B563-1F894ACA2D2E}" type="presParOf" srcId="{4DBE5FCA-90B8-49ED-9E86-164F4A16A742}" destId="{ADB54DC6-B092-461C-B756-1FC06983B66D}" srcOrd="3" destOrd="0" presId="urn:microsoft.com/office/officeart/2018/2/layout/IconVerticalSolidList"/>
    <dgm:cxn modelId="{A88C2D1B-477A-4550-A4B0-E6596AA64862}" type="presParOf" srcId="{4DBE5FCA-90B8-49ED-9E86-164F4A16A742}" destId="{5B62DC27-0611-4306-9772-5C97BE0AC5BE}" srcOrd="4" destOrd="0" presId="urn:microsoft.com/office/officeart/2018/2/layout/IconVerticalSolidList"/>
    <dgm:cxn modelId="{285B5B9C-D061-43F7-AB43-B863AD2AD59A}" type="presParOf" srcId="{5B62DC27-0611-4306-9772-5C97BE0AC5BE}" destId="{21CBC255-7FF5-4318-B9AD-F6C3CB9BD202}" srcOrd="0" destOrd="0" presId="urn:microsoft.com/office/officeart/2018/2/layout/IconVerticalSolidList"/>
    <dgm:cxn modelId="{948A5D75-F964-4A30-8F16-7C3280F6DABC}" type="presParOf" srcId="{5B62DC27-0611-4306-9772-5C97BE0AC5BE}" destId="{40EEC327-0F1B-4BF5-8785-F2CA800F7BEC}" srcOrd="1" destOrd="0" presId="urn:microsoft.com/office/officeart/2018/2/layout/IconVerticalSolidList"/>
    <dgm:cxn modelId="{AA04ED95-EE07-4B28-AF9A-5A7D8A3F341C}" type="presParOf" srcId="{5B62DC27-0611-4306-9772-5C97BE0AC5BE}" destId="{090C4012-3BC6-4957-97FA-ECE08C504B23}" srcOrd="2" destOrd="0" presId="urn:microsoft.com/office/officeart/2018/2/layout/IconVerticalSolidList"/>
    <dgm:cxn modelId="{3CCAC86D-2FA5-4723-9377-DD555AC3ED2C}" type="presParOf" srcId="{5B62DC27-0611-4306-9772-5C97BE0AC5BE}" destId="{5A285C28-2BE3-469D-B3A4-64F6A8F75884}" srcOrd="3" destOrd="0" presId="urn:microsoft.com/office/officeart/2018/2/layout/IconVerticalSolidList"/>
    <dgm:cxn modelId="{2DC4573A-446F-41BE-83A3-B875130C9C77}" type="presParOf" srcId="{5B62DC27-0611-4306-9772-5C97BE0AC5BE}" destId="{9D84FB69-FF40-41EF-A767-DF207146BA6A}" srcOrd="4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950EB6-3534-44F1-B79C-697AAB16278E}">
      <dsp:nvSpPr>
        <dsp:cNvPr id="0" name=""/>
        <dsp:cNvSpPr/>
      </dsp:nvSpPr>
      <dsp:spPr>
        <a:xfrm>
          <a:off x="-321910" y="7901"/>
          <a:ext cx="11610342" cy="14196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0058A13-92E3-4DBC-81BE-DF869177F89C}">
      <dsp:nvSpPr>
        <dsp:cNvPr id="0" name=""/>
        <dsp:cNvSpPr/>
      </dsp:nvSpPr>
      <dsp:spPr>
        <a:xfrm>
          <a:off x="107547" y="327332"/>
          <a:ext cx="780831" cy="780831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9F4038-A637-4825-A062-AC843782352F}">
      <dsp:nvSpPr>
        <dsp:cNvPr id="0" name=""/>
        <dsp:cNvSpPr/>
      </dsp:nvSpPr>
      <dsp:spPr>
        <a:xfrm>
          <a:off x="1317836" y="7901"/>
          <a:ext cx="9967387" cy="14196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0251" tIns="150251" rIns="150251" bIns="150251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Global aim: Reduce infant mortality in Missouri and the St. Louis Metro East Region</a:t>
          </a:r>
        </a:p>
      </dsp:txBody>
      <dsp:txXfrm>
        <a:off x="1317836" y="7901"/>
        <a:ext cx="9967387" cy="1419694"/>
      </dsp:txXfrm>
    </dsp:sp>
    <dsp:sp modelId="{A328EFA5-C83B-4C6F-BFC9-9836B4038D72}">
      <dsp:nvSpPr>
        <dsp:cNvPr id="0" name=""/>
        <dsp:cNvSpPr/>
      </dsp:nvSpPr>
      <dsp:spPr>
        <a:xfrm>
          <a:off x="-321910" y="1742583"/>
          <a:ext cx="11610342" cy="14196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838CF9-0D6D-4D35-9845-ADD7973D2FB4}">
      <dsp:nvSpPr>
        <dsp:cNvPr id="0" name=""/>
        <dsp:cNvSpPr/>
      </dsp:nvSpPr>
      <dsp:spPr>
        <a:xfrm>
          <a:off x="107547" y="2101950"/>
          <a:ext cx="780831" cy="780831"/>
        </a:xfrm>
        <a:prstGeom prst="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A7BC803-0A86-4C38-B84E-C00A48127D09}">
      <dsp:nvSpPr>
        <dsp:cNvPr id="0" name=""/>
        <dsp:cNvSpPr/>
      </dsp:nvSpPr>
      <dsp:spPr>
        <a:xfrm>
          <a:off x="1317836" y="1782519"/>
          <a:ext cx="5224653" cy="14196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0251" tIns="150251" rIns="150251" bIns="150251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BJC HSO Inpatient: </a:t>
          </a:r>
        </a:p>
      </dsp:txBody>
      <dsp:txXfrm>
        <a:off x="1317836" y="1782519"/>
        <a:ext cx="5224653" cy="1419694"/>
      </dsp:txXfrm>
    </dsp:sp>
    <dsp:sp modelId="{2B0DCC42-508C-4CAA-95F9-1C14745BF333}">
      <dsp:nvSpPr>
        <dsp:cNvPr id="0" name=""/>
        <dsp:cNvSpPr/>
      </dsp:nvSpPr>
      <dsp:spPr>
        <a:xfrm>
          <a:off x="5489627" y="1793152"/>
          <a:ext cx="6036788" cy="14196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0251" tIns="150251" rIns="150251" bIns="150251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Greater than 90% of infants less than 12 months of age will be placed in a safe sleep environment as recommended by the AAP by end of 06/30/2021</a:t>
          </a:r>
        </a:p>
      </dsp:txBody>
      <dsp:txXfrm>
        <a:off x="5489627" y="1793152"/>
        <a:ext cx="6036788" cy="1419694"/>
      </dsp:txXfrm>
    </dsp:sp>
    <dsp:sp modelId="{21CBC255-7FF5-4318-B9AD-F6C3CB9BD202}">
      <dsp:nvSpPr>
        <dsp:cNvPr id="0" name=""/>
        <dsp:cNvSpPr/>
      </dsp:nvSpPr>
      <dsp:spPr>
        <a:xfrm>
          <a:off x="-321910" y="3557137"/>
          <a:ext cx="11610342" cy="14196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EEC327-0F1B-4BF5-8785-F2CA800F7BEC}">
      <dsp:nvSpPr>
        <dsp:cNvPr id="0" name=""/>
        <dsp:cNvSpPr/>
      </dsp:nvSpPr>
      <dsp:spPr>
        <a:xfrm>
          <a:off x="107547" y="3876568"/>
          <a:ext cx="780831" cy="780831"/>
        </a:xfrm>
        <a:prstGeom prst="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A285C28-2BE3-469D-B3A4-64F6A8F75884}">
      <dsp:nvSpPr>
        <dsp:cNvPr id="0" name=""/>
        <dsp:cNvSpPr/>
      </dsp:nvSpPr>
      <dsp:spPr>
        <a:xfrm>
          <a:off x="1317836" y="3557137"/>
          <a:ext cx="5224653" cy="14196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0251" tIns="150251" rIns="150251" bIns="150251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Community (2021):</a:t>
          </a:r>
        </a:p>
      </dsp:txBody>
      <dsp:txXfrm>
        <a:off x="1317836" y="3557137"/>
        <a:ext cx="5224653" cy="1419694"/>
      </dsp:txXfrm>
    </dsp:sp>
    <dsp:sp modelId="{9D84FB69-FF40-41EF-A767-DF207146BA6A}">
      <dsp:nvSpPr>
        <dsp:cNvPr id="0" name=""/>
        <dsp:cNvSpPr/>
      </dsp:nvSpPr>
      <dsp:spPr>
        <a:xfrm>
          <a:off x="5578435" y="3565038"/>
          <a:ext cx="5182764" cy="14196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0251" tIns="150251" rIns="150251" bIns="150251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75% of parents evaluated who are discharged from a BJC HSO will demonstrate in-home safe sleep practices by end of 12/31/2021</a:t>
          </a:r>
        </a:p>
      </dsp:txBody>
      <dsp:txXfrm>
        <a:off x="5578435" y="3565038"/>
        <a:ext cx="5182764" cy="14196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DC306B-AD26-41CE-85F8-F2300FEB58CA}" type="datetimeFigureOut">
              <a:t>5/29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E7A3C9-2C16-4910-9204-ACEA2D5CF6D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7268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70127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F791A2-EFBA-2A42-A23A-D2688B6481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0679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svg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36.emf"/><Relationship Id="rId5" Type="http://schemas.openxmlformats.org/officeDocument/2006/relationships/image" Target="../media/image35.emf"/><Relationship Id="rId4" Type="http://schemas.openxmlformats.org/officeDocument/2006/relationships/image" Target="../media/image34.emf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7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4.emf"/><Relationship Id="rId4" Type="http://schemas.openxmlformats.org/officeDocument/2006/relationships/oleObject" Target="../embeddings/oleObject2.bin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36.emf"/><Relationship Id="rId5" Type="http://schemas.openxmlformats.org/officeDocument/2006/relationships/image" Target="../media/image35.emf"/><Relationship Id="rId4" Type="http://schemas.openxmlformats.org/officeDocument/2006/relationships/image" Target="../media/image34.emf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9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34.emf"/><Relationship Id="rId4" Type="http://schemas.openxmlformats.org/officeDocument/2006/relationships/oleObject" Target="../embeddings/oleObject5.bin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svg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svg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8.jpg"/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9.jpg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8.jpg"/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9.jp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tiff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tiff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2.png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2.png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sv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1621868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66090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5/29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5/29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2318689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6090120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97311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2063742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73706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7798311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029397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909879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84811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7282868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3603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9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_2">
  <p:cSld name="cover_2">
    <p:bg>
      <p:bgPr>
        <a:solidFill>
          <a:schemeClr val="lt1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oogle Shape;16;p1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17;p16"/>
          <p:cNvSpPr txBox="1">
            <a:spLocks noGrp="1"/>
          </p:cNvSpPr>
          <p:nvPr>
            <p:ph type="title"/>
          </p:nvPr>
        </p:nvSpPr>
        <p:spPr>
          <a:xfrm>
            <a:off x="6560622" y="2025003"/>
            <a:ext cx="5530850" cy="3356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2286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Calibri"/>
              <a:buNone/>
              <a:defRPr sz="40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16"/>
          <p:cNvSpPr txBox="1">
            <a:spLocks noGrp="1"/>
          </p:cNvSpPr>
          <p:nvPr>
            <p:ph type="body" idx="1"/>
          </p:nvPr>
        </p:nvSpPr>
        <p:spPr>
          <a:xfrm>
            <a:off x="6560623" y="5381436"/>
            <a:ext cx="5530850" cy="8091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  <a:defRPr sz="1800" b="0" i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Calibri"/>
              <a:buNone/>
              <a:defRPr sz="1800" b="0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SzPts val="1800"/>
              <a:buFont typeface="Calibri"/>
              <a:buNone/>
              <a:defRPr sz="1800" b="0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SzPts val="1800"/>
              <a:buFont typeface="Calibri"/>
              <a:buNone/>
              <a:defRPr sz="1800" b="0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SzPts val="1800"/>
              <a:buFont typeface="Calibri"/>
              <a:buNone/>
              <a:defRPr sz="1800" b="0">
                <a:solidFill>
                  <a:schemeClr val="lt1"/>
                </a:solidFill>
              </a:defRPr>
            </a:lvl5pPr>
            <a:lvl6pPr marL="2743200" lvl="5" indent="-228600" algn="l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0">
                <a:solidFill>
                  <a:schemeClr val="lt1"/>
                </a:solidFill>
              </a:defRPr>
            </a:lvl6pPr>
            <a:lvl7pPr marL="3200400" lvl="6" indent="-228600" algn="l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0">
                <a:solidFill>
                  <a:schemeClr val="lt1"/>
                </a:solidFill>
              </a:defRPr>
            </a:lvl7pPr>
            <a:lvl8pPr marL="3657600" lvl="7" indent="-228600" algn="l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0">
                <a:solidFill>
                  <a:schemeClr val="lt1"/>
                </a:solidFill>
              </a:defRPr>
            </a:lvl8pPr>
            <a:lvl9pPr marL="4114800" lvl="8" indent="-228600" algn="l">
              <a:lnSpc>
                <a:spcPct val="116666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None/>
              <a:defRPr sz="1800" b="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pic>
        <p:nvPicPr>
          <p:cNvPr id="19" name="Google Shape;19;p16" descr="A picture containing logo&#10;&#10;Description automatically generated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0606" y="369351"/>
            <a:ext cx="2020713" cy="92436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373686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bg>
      <p:bgPr>
        <a:solidFill>
          <a:schemeClr val="lt1"/>
        </a:solidFill>
        <a:effectLst/>
      </p:bgPr>
    </p:bg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oogle Shape;21;p1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572"/>
            <a:ext cx="1219199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Google Shape;22;p17"/>
          <p:cNvSpPr txBox="1">
            <a:spLocks noGrp="1"/>
          </p:cNvSpPr>
          <p:nvPr>
            <p:ph type="dt" idx="10"/>
          </p:nvPr>
        </p:nvSpPr>
        <p:spPr>
          <a:xfrm>
            <a:off x="6210300" y="6362700"/>
            <a:ext cx="1695450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17"/>
          <p:cNvSpPr txBox="1">
            <a:spLocks noGrp="1"/>
          </p:cNvSpPr>
          <p:nvPr>
            <p:ph type="ftr" idx="11"/>
          </p:nvPr>
        </p:nvSpPr>
        <p:spPr>
          <a:xfrm>
            <a:off x="773048" y="6364783"/>
            <a:ext cx="5202302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5425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17"/>
          <p:cNvSpPr txBox="1">
            <a:spLocks noGrp="1"/>
          </p:cNvSpPr>
          <p:nvPr>
            <p:ph type="sldNum" idx="12"/>
          </p:nvPr>
        </p:nvSpPr>
        <p:spPr>
          <a:xfrm>
            <a:off x="457198" y="6362701"/>
            <a:ext cx="315849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5" name="Google Shape;25;p17"/>
          <p:cNvSpPr txBox="1">
            <a:spLocks noGrp="1"/>
          </p:cNvSpPr>
          <p:nvPr>
            <p:ph type="body" idx="1"/>
          </p:nvPr>
        </p:nvSpPr>
        <p:spPr>
          <a:xfrm>
            <a:off x="4305300" y="1781175"/>
            <a:ext cx="6156325" cy="416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85800" rIns="0" bIns="0" anchor="t" anchorCtr="0">
            <a:noAutofit/>
          </a:bodyPr>
          <a:lstStyle>
            <a:lvl1pPr marL="457200" lvl="0" indent="-355600" algn="l">
              <a:lnSpc>
                <a:spcPct val="104999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AutoNum type="arabicPeriod"/>
              <a:defRPr sz="2000" b="0">
                <a:solidFill>
                  <a:schemeClr val="accent1"/>
                </a:solidFill>
              </a:defRPr>
            </a:lvl1pPr>
            <a:lvl2pPr marL="914400" lvl="1" indent="-355600" algn="l">
              <a:lnSpc>
                <a:spcPct val="104999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AutoNum type="arabicPeriod"/>
              <a:defRPr sz="2000" b="0">
                <a:solidFill>
                  <a:schemeClr val="accent1"/>
                </a:solidFill>
              </a:defRPr>
            </a:lvl2pPr>
            <a:lvl3pPr marL="1371600" lvl="2" indent="-342900" algn="l">
              <a:lnSpc>
                <a:spcPct val="116666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AutoNum type="arabicPeriod"/>
              <a:defRPr sz="1800" b="0">
                <a:solidFill>
                  <a:schemeClr val="accent1"/>
                </a:solidFill>
              </a:defRPr>
            </a:lvl3pPr>
            <a:lvl4pPr marL="1828800" lvl="3" indent="-342900" algn="l">
              <a:lnSpc>
                <a:spcPct val="116666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AutoNum type="arabicPeriod"/>
              <a:defRPr sz="1800" b="0">
                <a:solidFill>
                  <a:schemeClr val="accent1"/>
                </a:solidFill>
              </a:defRPr>
            </a:lvl4pPr>
            <a:lvl5pPr marL="2286000" lvl="4" indent="-342900" algn="l">
              <a:lnSpc>
                <a:spcPct val="116666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AutoNum type="arabicPeriod"/>
              <a:defRPr sz="1800" b="0">
                <a:solidFill>
                  <a:schemeClr val="accent1"/>
                </a:solidFill>
              </a:defRPr>
            </a:lvl5pPr>
            <a:lvl6pPr marL="2743200" lvl="5" indent="-342900" algn="l">
              <a:lnSpc>
                <a:spcPct val="116666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AutoNum type="arabicPeriod"/>
              <a:defRPr sz="1800" b="0">
                <a:solidFill>
                  <a:schemeClr val="accent1"/>
                </a:solidFill>
              </a:defRPr>
            </a:lvl6pPr>
            <a:lvl7pPr marL="3200400" lvl="6" indent="-342900" algn="l">
              <a:lnSpc>
                <a:spcPct val="116666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AutoNum type="arabicPeriod"/>
              <a:defRPr sz="1800" b="0">
                <a:solidFill>
                  <a:schemeClr val="accent1"/>
                </a:solidFill>
              </a:defRPr>
            </a:lvl7pPr>
            <a:lvl8pPr marL="3657600" lvl="7" indent="-342900" algn="l">
              <a:lnSpc>
                <a:spcPct val="116666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AutoNum type="arabicPeriod"/>
              <a:defRPr sz="1800" b="0">
                <a:solidFill>
                  <a:schemeClr val="accent1"/>
                </a:solidFill>
              </a:defRPr>
            </a:lvl8pPr>
            <a:lvl9pPr marL="4114800" lvl="8" indent="-342900" algn="l">
              <a:lnSpc>
                <a:spcPct val="116666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800"/>
              <a:buFont typeface="Calibri"/>
              <a:buAutoNum type="arabicPeriod"/>
              <a:defRPr sz="1800" b="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6" name="Google Shape;26;p17"/>
          <p:cNvSpPr txBox="1"/>
          <p:nvPr/>
        </p:nvSpPr>
        <p:spPr>
          <a:xfrm>
            <a:off x="1736725" y="-1783"/>
            <a:ext cx="2336800" cy="17811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28000" anchor="b" anchorCtr="0">
            <a:noAutofit/>
          </a:bodyPr>
          <a:lstStyle/>
          <a:p>
            <a:pPr marL="0" marR="0" lvl="0" indent="0" algn="l" rtl="0">
              <a:lnSpc>
                <a:spcPct val="7727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genda</a:t>
            </a:r>
            <a:endParaRPr/>
          </a:p>
        </p:txBody>
      </p:sp>
      <p:pic>
        <p:nvPicPr>
          <p:cNvPr id="27" name="Google Shape;27;p17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0445" y="6358647"/>
            <a:ext cx="2016517" cy="2359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1312795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bg>
      <p:bgPr>
        <a:solidFill>
          <a:schemeClr val="lt1"/>
        </a:solidFill>
        <a:effectLst/>
      </p:bgPr>
    </p:bg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oogle Shape;21;p1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572"/>
            <a:ext cx="1219199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Google Shape;22;p17"/>
          <p:cNvSpPr txBox="1">
            <a:spLocks noGrp="1"/>
          </p:cNvSpPr>
          <p:nvPr>
            <p:ph type="dt" idx="10"/>
          </p:nvPr>
        </p:nvSpPr>
        <p:spPr>
          <a:xfrm>
            <a:off x="6210300" y="6362700"/>
            <a:ext cx="1695450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17"/>
          <p:cNvSpPr txBox="1">
            <a:spLocks noGrp="1"/>
          </p:cNvSpPr>
          <p:nvPr>
            <p:ph type="ftr" idx="11"/>
          </p:nvPr>
        </p:nvSpPr>
        <p:spPr>
          <a:xfrm>
            <a:off x="773048" y="6364783"/>
            <a:ext cx="5202302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5425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17"/>
          <p:cNvSpPr txBox="1">
            <a:spLocks noGrp="1"/>
          </p:cNvSpPr>
          <p:nvPr>
            <p:ph type="sldNum" idx="12"/>
          </p:nvPr>
        </p:nvSpPr>
        <p:spPr>
          <a:xfrm>
            <a:off x="457198" y="6362701"/>
            <a:ext cx="315849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5" name="Google Shape;25;p17"/>
          <p:cNvSpPr txBox="1">
            <a:spLocks noGrp="1"/>
          </p:cNvSpPr>
          <p:nvPr>
            <p:ph type="body" idx="1"/>
          </p:nvPr>
        </p:nvSpPr>
        <p:spPr>
          <a:xfrm>
            <a:off x="4305300" y="1781175"/>
            <a:ext cx="6156325" cy="416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85800" rIns="0" bIns="0" anchor="t" anchorCtr="0">
            <a:noAutofit/>
          </a:bodyPr>
          <a:lstStyle>
            <a:lvl1pPr marL="457200" lvl="0" indent="-355600" algn="l">
              <a:lnSpc>
                <a:spcPct val="104999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AutoNum type="arabicPeriod"/>
              <a:defRPr sz="2000" b="0">
                <a:solidFill>
                  <a:schemeClr val="accent1"/>
                </a:solidFill>
              </a:defRPr>
            </a:lvl1pPr>
            <a:lvl2pPr marL="914400" lvl="1" indent="-355600" algn="l">
              <a:lnSpc>
                <a:spcPct val="104999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AutoNum type="arabicPeriod"/>
              <a:defRPr sz="2000" b="0">
                <a:solidFill>
                  <a:schemeClr val="accent1"/>
                </a:solidFill>
              </a:defRPr>
            </a:lvl2pPr>
            <a:lvl3pPr marL="1371600" lvl="2" indent="-342900" algn="l">
              <a:lnSpc>
                <a:spcPct val="116666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AutoNum type="arabicPeriod"/>
              <a:defRPr sz="1800" b="0">
                <a:solidFill>
                  <a:schemeClr val="accent1"/>
                </a:solidFill>
              </a:defRPr>
            </a:lvl3pPr>
            <a:lvl4pPr marL="1828800" lvl="3" indent="-342900" algn="l">
              <a:lnSpc>
                <a:spcPct val="116666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AutoNum type="arabicPeriod"/>
              <a:defRPr sz="1800" b="0">
                <a:solidFill>
                  <a:schemeClr val="accent1"/>
                </a:solidFill>
              </a:defRPr>
            </a:lvl4pPr>
            <a:lvl5pPr marL="2286000" lvl="4" indent="-342900" algn="l">
              <a:lnSpc>
                <a:spcPct val="116666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AutoNum type="arabicPeriod"/>
              <a:defRPr sz="1800" b="0">
                <a:solidFill>
                  <a:schemeClr val="accent1"/>
                </a:solidFill>
              </a:defRPr>
            </a:lvl5pPr>
            <a:lvl6pPr marL="2743200" lvl="5" indent="-342900" algn="l">
              <a:lnSpc>
                <a:spcPct val="116666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AutoNum type="arabicPeriod"/>
              <a:defRPr sz="1800" b="0">
                <a:solidFill>
                  <a:schemeClr val="accent1"/>
                </a:solidFill>
              </a:defRPr>
            </a:lvl6pPr>
            <a:lvl7pPr marL="3200400" lvl="6" indent="-342900" algn="l">
              <a:lnSpc>
                <a:spcPct val="116666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AutoNum type="arabicPeriod"/>
              <a:defRPr sz="1800" b="0">
                <a:solidFill>
                  <a:schemeClr val="accent1"/>
                </a:solidFill>
              </a:defRPr>
            </a:lvl7pPr>
            <a:lvl8pPr marL="3657600" lvl="7" indent="-342900" algn="l">
              <a:lnSpc>
                <a:spcPct val="116666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AutoNum type="arabicPeriod"/>
              <a:defRPr sz="1800" b="0">
                <a:solidFill>
                  <a:schemeClr val="accent1"/>
                </a:solidFill>
              </a:defRPr>
            </a:lvl8pPr>
            <a:lvl9pPr marL="4114800" lvl="8" indent="-342900" algn="l">
              <a:lnSpc>
                <a:spcPct val="116666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800"/>
              <a:buFont typeface="Calibri"/>
              <a:buAutoNum type="arabicPeriod"/>
              <a:defRPr sz="1800" b="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6" name="Google Shape;26;p17"/>
          <p:cNvSpPr txBox="1"/>
          <p:nvPr/>
        </p:nvSpPr>
        <p:spPr>
          <a:xfrm>
            <a:off x="1736725" y="-1783"/>
            <a:ext cx="2336800" cy="17811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128000" anchor="b" anchorCtr="0">
            <a:noAutofit/>
          </a:bodyPr>
          <a:lstStyle/>
          <a:p>
            <a:pPr marL="0" marR="0" lvl="0" indent="0" algn="l" rtl="0">
              <a:lnSpc>
                <a:spcPct val="7727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genda</a:t>
            </a:r>
            <a:endParaRPr/>
          </a:p>
        </p:txBody>
      </p:sp>
      <p:pic>
        <p:nvPicPr>
          <p:cNvPr id="27" name="Google Shape;27;p17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0445" y="6358647"/>
            <a:ext cx="2016517" cy="2359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1312795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divider_1">
  <p:cSld name="2_divider_1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oogle Shape;29;p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30;p18"/>
          <p:cNvSpPr txBox="1">
            <a:spLocks noGrp="1"/>
          </p:cNvSpPr>
          <p:nvPr>
            <p:ph type="title"/>
          </p:nvPr>
        </p:nvSpPr>
        <p:spPr>
          <a:xfrm>
            <a:off x="457199" y="1781176"/>
            <a:ext cx="7448551" cy="416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34425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18"/>
          <p:cNvSpPr txBox="1">
            <a:spLocks noGrp="1"/>
          </p:cNvSpPr>
          <p:nvPr>
            <p:ph type="dt" idx="10"/>
          </p:nvPr>
        </p:nvSpPr>
        <p:spPr>
          <a:xfrm>
            <a:off x="6210300" y="6362700"/>
            <a:ext cx="1695450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2" name="Google Shape;32;p18"/>
          <p:cNvSpPr txBox="1">
            <a:spLocks noGrp="1"/>
          </p:cNvSpPr>
          <p:nvPr>
            <p:ph type="ftr" idx="11"/>
          </p:nvPr>
        </p:nvSpPr>
        <p:spPr>
          <a:xfrm>
            <a:off x="773048" y="6364783"/>
            <a:ext cx="5202302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5425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3" name="Google Shape;33;p18"/>
          <p:cNvSpPr txBox="1">
            <a:spLocks noGrp="1"/>
          </p:cNvSpPr>
          <p:nvPr>
            <p:ph type="sldNum" idx="12"/>
          </p:nvPr>
        </p:nvSpPr>
        <p:spPr>
          <a:xfrm>
            <a:off x="457198" y="6362701"/>
            <a:ext cx="315849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1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l">
              <a:spcBef>
                <a:spcPts val="0"/>
              </a:spcBef>
              <a:buNone/>
              <a:defRPr sz="1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l">
              <a:spcBef>
                <a:spcPts val="0"/>
              </a:spcBef>
              <a:buNone/>
              <a:defRPr sz="1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l">
              <a:spcBef>
                <a:spcPts val="0"/>
              </a:spcBef>
              <a:buNone/>
              <a:defRPr sz="1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l">
              <a:spcBef>
                <a:spcPts val="0"/>
              </a:spcBef>
              <a:buNone/>
              <a:defRPr sz="1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l">
              <a:spcBef>
                <a:spcPts val="0"/>
              </a:spcBef>
              <a:buNone/>
              <a:defRPr sz="1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l">
              <a:spcBef>
                <a:spcPts val="0"/>
              </a:spcBef>
              <a:buNone/>
              <a:defRPr sz="1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l">
              <a:spcBef>
                <a:spcPts val="0"/>
              </a:spcBef>
              <a:buNone/>
              <a:defRPr sz="1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l">
              <a:spcBef>
                <a:spcPts val="0"/>
              </a:spcBef>
              <a:buNone/>
              <a:defRPr sz="10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4" name="Google Shape;34;p18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24641" y="6358648"/>
            <a:ext cx="2016509" cy="23597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120402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_1_column">
  <p:cSld name="content_1_column">
    <p:bg>
      <p:bgPr>
        <a:solidFill>
          <a:schemeClr val="lt1"/>
        </a:solidFill>
        <a:effectLst/>
      </p:bgPr>
    </p:bg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Google Shape;43;p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0855"/>
          </a:xfrm>
          <a:prstGeom prst="rect">
            <a:avLst/>
          </a:prstGeom>
          <a:noFill/>
          <a:ln>
            <a:noFill/>
          </a:ln>
        </p:spPr>
      </p:pic>
      <p:sp>
        <p:nvSpPr>
          <p:cNvPr id="44" name="Google Shape;44;p20"/>
          <p:cNvSpPr txBox="1">
            <a:spLocks noGrp="1"/>
          </p:cNvSpPr>
          <p:nvPr>
            <p:ph type="dt" idx="10"/>
          </p:nvPr>
        </p:nvSpPr>
        <p:spPr>
          <a:xfrm>
            <a:off x="6210300" y="6362700"/>
            <a:ext cx="1695450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20"/>
          <p:cNvSpPr txBox="1">
            <a:spLocks noGrp="1"/>
          </p:cNvSpPr>
          <p:nvPr>
            <p:ph type="ftr" idx="11"/>
          </p:nvPr>
        </p:nvSpPr>
        <p:spPr>
          <a:xfrm>
            <a:off x="773048" y="6364783"/>
            <a:ext cx="5202302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5425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20"/>
          <p:cNvSpPr txBox="1">
            <a:spLocks noGrp="1"/>
          </p:cNvSpPr>
          <p:nvPr>
            <p:ph type="sldNum" idx="12"/>
          </p:nvPr>
        </p:nvSpPr>
        <p:spPr>
          <a:xfrm>
            <a:off x="457198" y="6362701"/>
            <a:ext cx="315849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7" name="Google Shape;47;p20"/>
          <p:cNvSpPr txBox="1">
            <a:spLocks noGrp="1"/>
          </p:cNvSpPr>
          <p:nvPr>
            <p:ph type="title"/>
          </p:nvPr>
        </p:nvSpPr>
        <p:spPr>
          <a:xfrm>
            <a:off x="457200" y="460374"/>
            <a:ext cx="10004425" cy="106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8" name="Google Shape;48;p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0445" y="6358647"/>
            <a:ext cx="2016517" cy="235975"/>
          </a:xfrm>
          <a:prstGeom prst="rect">
            <a:avLst/>
          </a:prstGeom>
          <a:noFill/>
          <a:ln>
            <a:noFill/>
          </a:ln>
        </p:spPr>
      </p:pic>
      <p:sp>
        <p:nvSpPr>
          <p:cNvPr id="49" name="Google Shape;49;p20"/>
          <p:cNvSpPr txBox="1">
            <a:spLocks noGrp="1"/>
          </p:cNvSpPr>
          <p:nvPr>
            <p:ph type="body" idx="1"/>
          </p:nvPr>
        </p:nvSpPr>
        <p:spPr>
          <a:xfrm>
            <a:off x="457198" y="1781175"/>
            <a:ext cx="10004427" cy="416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55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20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116666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116666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116666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116666"/>
              </a:lnSpc>
              <a:spcBef>
                <a:spcPts val="1200"/>
              </a:spcBef>
              <a:spcAft>
                <a:spcPts val="120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542467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llout_graphic">
  <p:cSld name="callout_graphic"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Google Shape;51;p2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694" y="0"/>
            <a:ext cx="12166611" cy="6850855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52;p21"/>
          <p:cNvSpPr txBox="1">
            <a:spLocks noGrp="1"/>
          </p:cNvSpPr>
          <p:nvPr>
            <p:ph type="dt" idx="10"/>
          </p:nvPr>
        </p:nvSpPr>
        <p:spPr>
          <a:xfrm>
            <a:off x="6210300" y="6362700"/>
            <a:ext cx="1695450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21"/>
          <p:cNvSpPr txBox="1">
            <a:spLocks noGrp="1"/>
          </p:cNvSpPr>
          <p:nvPr>
            <p:ph type="ftr" idx="11"/>
          </p:nvPr>
        </p:nvSpPr>
        <p:spPr>
          <a:xfrm>
            <a:off x="773048" y="6364783"/>
            <a:ext cx="5202302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5425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21"/>
          <p:cNvSpPr txBox="1">
            <a:spLocks noGrp="1"/>
          </p:cNvSpPr>
          <p:nvPr>
            <p:ph type="sldNum" idx="12"/>
          </p:nvPr>
        </p:nvSpPr>
        <p:spPr>
          <a:xfrm>
            <a:off x="457198" y="6362701"/>
            <a:ext cx="315849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5" name="Google Shape;55;p21"/>
          <p:cNvSpPr txBox="1">
            <a:spLocks noGrp="1"/>
          </p:cNvSpPr>
          <p:nvPr>
            <p:ph type="title"/>
          </p:nvPr>
        </p:nvSpPr>
        <p:spPr>
          <a:xfrm>
            <a:off x="457201" y="460375"/>
            <a:ext cx="6388100" cy="5486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27430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4000"/>
              <a:buFont typeface="Calibri"/>
              <a:buNone/>
              <a:defRPr sz="4000">
                <a:solidFill>
                  <a:schemeClr val="accent6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6" name="Google Shape;56;p21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0445" y="6358647"/>
            <a:ext cx="2016517" cy="2359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9667817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_1_column">
  <p:cSld name="content_1_column">
    <p:bg>
      <p:bgPr>
        <a:solidFill>
          <a:schemeClr val="lt1"/>
        </a:solidFill>
        <a:effectLst/>
      </p:bgPr>
    </p:bg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Google Shape;43;p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0855"/>
          </a:xfrm>
          <a:prstGeom prst="rect">
            <a:avLst/>
          </a:prstGeom>
          <a:noFill/>
          <a:ln>
            <a:noFill/>
          </a:ln>
        </p:spPr>
      </p:pic>
      <p:sp>
        <p:nvSpPr>
          <p:cNvPr id="44" name="Google Shape;44;p20"/>
          <p:cNvSpPr txBox="1">
            <a:spLocks noGrp="1"/>
          </p:cNvSpPr>
          <p:nvPr>
            <p:ph type="dt" idx="10"/>
          </p:nvPr>
        </p:nvSpPr>
        <p:spPr>
          <a:xfrm>
            <a:off x="6210300" y="6362700"/>
            <a:ext cx="1695450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20"/>
          <p:cNvSpPr txBox="1">
            <a:spLocks noGrp="1"/>
          </p:cNvSpPr>
          <p:nvPr>
            <p:ph type="ftr" idx="11"/>
          </p:nvPr>
        </p:nvSpPr>
        <p:spPr>
          <a:xfrm>
            <a:off x="773048" y="6364783"/>
            <a:ext cx="5202302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5425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20"/>
          <p:cNvSpPr txBox="1">
            <a:spLocks noGrp="1"/>
          </p:cNvSpPr>
          <p:nvPr>
            <p:ph type="sldNum" idx="12"/>
          </p:nvPr>
        </p:nvSpPr>
        <p:spPr>
          <a:xfrm>
            <a:off x="457198" y="6362701"/>
            <a:ext cx="315849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7" name="Google Shape;47;p20"/>
          <p:cNvSpPr txBox="1">
            <a:spLocks noGrp="1"/>
          </p:cNvSpPr>
          <p:nvPr>
            <p:ph type="title"/>
          </p:nvPr>
        </p:nvSpPr>
        <p:spPr>
          <a:xfrm>
            <a:off x="457200" y="460374"/>
            <a:ext cx="10004425" cy="106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8" name="Google Shape;48;p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0445" y="6358647"/>
            <a:ext cx="2016517" cy="235975"/>
          </a:xfrm>
          <a:prstGeom prst="rect">
            <a:avLst/>
          </a:prstGeom>
          <a:noFill/>
          <a:ln>
            <a:noFill/>
          </a:ln>
        </p:spPr>
      </p:pic>
      <p:sp>
        <p:nvSpPr>
          <p:cNvPr id="49" name="Google Shape;49;p20"/>
          <p:cNvSpPr txBox="1">
            <a:spLocks noGrp="1"/>
          </p:cNvSpPr>
          <p:nvPr>
            <p:ph type="body" idx="1"/>
          </p:nvPr>
        </p:nvSpPr>
        <p:spPr>
          <a:xfrm>
            <a:off x="457198" y="1781175"/>
            <a:ext cx="10004427" cy="416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355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20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116666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116666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116666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116666"/>
              </a:lnSpc>
              <a:spcBef>
                <a:spcPts val="1200"/>
              </a:spcBef>
              <a:spcAft>
                <a:spcPts val="120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542467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llout_graphic">
  <p:cSld name="callout_graphic"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Google Shape;51;p2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694" y="0"/>
            <a:ext cx="12166611" cy="6850855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52;p21"/>
          <p:cNvSpPr txBox="1">
            <a:spLocks noGrp="1"/>
          </p:cNvSpPr>
          <p:nvPr>
            <p:ph type="dt" idx="10"/>
          </p:nvPr>
        </p:nvSpPr>
        <p:spPr>
          <a:xfrm>
            <a:off x="6210300" y="6362700"/>
            <a:ext cx="1695450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21"/>
          <p:cNvSpPr txBox="1">
            <a:spLocks noGrp="1"/>
          </p:cNvSpPr>
          <p:nvPr>
            <p:ph type="ftr" idx="11"/>
          </p:nvPr>
        </p:nvSpPr>
        <p:spPr>
          <a:xfrm>
            <a:off x="773048" y="6364783"/>
            <a:ext cx="5202302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55425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21"/>
          <p:cNvSpPr txBox="1">
            <a:spLocks noGrp="1"/>
          </p:cNvSpPr>
          <p:nvPr>
            <p:ph type="sldNum" idx="12"/>
          </p:nvPr>
        </p:nvSpPr>
        <p:spPr>
          <a:xfrm>
            <a:off x="457198" y="6362701"/>
            <a:ext cx="315849" cy="231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5" name="Google Shape;55;p21"/>
          <p:cNvSpPr txBox="1">
            <a:spLocks noGrp="1"/>
          </p:cNvSpPr>
          <p:nvPr>
            <p:ph type="title"/>
          </p:nvPr>
        </p:nvSpPr>
        <p:spPr>
          <a:xfrm>
            <a:off x="457201" y="460375"/>
            <a:ext cx="6388100" cy="5486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27430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4000"/>
              <a:buFont typeface="Calibri"/>
              <a:buNone/>
              <a:defRPr sz="4000">
                <a:solidFill>
                  <a:schemeClr val="accent6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6" name="Google Shape;56;p21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0445" y="6358647"/>
            <a:ext cx="2016517" cy="2359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9667817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4">
  <p:cSld name="Section Header 4">
    <p:bg>
      <p:bgPr>
        <a:gradFill>
          <a:gsLst>
            <a:gs pos="0">
              <a:srgbClr val="645B9B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oogle Shape;14;p9" descr="Cadence image1rgb 16x9.jpg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26" y="0"/>
            <a:ext cx="1215957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15;p9"/>
          <p:cNvSpPr/>
          <p:nvPr/>
        </p:nvSpPr>
        <p:spPr>
          <a:xfrm>
            <a:off x="-43701" y="-1"/>
            <a:ext cx="8920916" cy="6858001"/>
          </a:xfrm>
          <a:custGeom>
            <a:avLst/>
            <a:gdLst/>
            <a:ahLst/>
            <a:cxnLst/>
            <a:rect l="l" t="t" r="r" b="b"/>
            <a:pathLst>
              <a:path w="8931777" h="6942534" extrusionOk="0">
                <a:moveTo>
                  <a:pt x="5266013" y="2891"/>
                </a:moveTo>
                <a:lnTo>
                  <a:pt x="8931777" y="6942534"/>
                </a:lnTo>
                <a:lnTo>
                  <a:pt x="116" y="6931481"/>
                </a:lnTo>
                <a:cubicBezTo>
                  <a:pt x="77" y="4617342"/>
                  <a:pt x="39" y="2314139"/>
                  <a:pt x="0" y="0"/>
                </a:cubicBezTo>
                <a:lnTo>
                  <a:pt x="5266013" y="2891"/>
                </a:lnTo>
                <a:close/>
              </a:path>
            </a:pathLst>
          </a:custGeom>
          <a:solidFill>
            <a:srgbClr val="51468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9"/>
          <p:cNvSpPr txBox="1">
            <a:spLocks noGrp="1"/>
          </p:cNvSpPr>
          <p:nvPr>
            <p:ph type="ctrTitle"/>
          </p:nvPr>
        </p:nvSpPr>
        <p:spPr>
          <a:xfrm>
            <a:off x="907142" y="2491618"/>
            <a:ext cx="5746524" cy="13884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733"/>
              <a:buFont typeface="Calibri"/>
              <a:buNone/>
              <a:defRPr sz="3733" b="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9"/>
          <p:cNvSpPr txBox="1">
            <a:spLocks noGrp="1"/>
          </p:cNvSpPr>
          <p:nvPr>
            <p:ph type="subTitle" idx="1"/>
          </p:nvPr>
        </p:nvSpPr>
        <p:spPr>
          <a:xfrm>
            <a:off x="895048" y="3953557"/>
            <a:ext cx="6426277" cy="12473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667"/>
              <a:buNone/>
              <a:defRPr sz="2667">
                <a:solidFill>
                  <a:schemeClr val="lt1"/>
                </a:solidFill>
              </a:defRPr>
            </a:lvl1pPr>
            <a:lvl2pPr lvl="1" algn="ctr">
              <a:spcBef>
                <a:spcPts val="453"/>
              </a:spcBef>
              <a:spcAft>
                <a:spcPts val="0"/>
              </a:spcAft>
              <a:buClr>
                <a:srgbClr val="979899"/>
              </a:buClr>
              <a:buSzPts val="1814"/>
              <a:buNone/>
              <a:defRPr>
                <a:solidFill>
                  <a:srgbClr val="979899"/>
                </a:solidFill>
              </a:defRPr>
            </a:lvl2pPr>
            <a:lvl3pPr lvl="2" algn="ctr">
              <a:spcBef>
                <a:spcPts val="373"/>
              </a:spcBef>
              <a:spcAft>
                <a:spcPts val="0"/>
              </a:spcAft>
              <a:buClr>
                <a:srgbClr val="979899"/>
              </a:buClr>
              <a:buSzPts val="1867"/>
              <a:buNone/>
              <a:defRPr>
                <a:solidFill>
                  <a:srgbClr val="979899"/>
                </a:solidFill>
              </a:defRPr>
            </a:lvl3pPr>
            <a:lvl4pPr lvl="3" algn="ctr">
              <a:spcBef>
                <a:spcPts val="373"/>
              </a:spcBef>
              <a:spcAft>
                <a:spcPts val="0"/>
              </a:spcAft>
              <a:buClr>
                <a:srgbClr val="979899"/>
              </a:buClr>
              <a:buSzPts val="1867"/>
              <a:buNone/>
              <a:defRPr>
                <a:solidFill>
                  <a:srgbClr val="979899"/>
                </a:solidFill>
              </a:defRPr>
            </a:lvl4pPr>
            <a:lvl5pPr lvl="4" algn="ctr">
              <a:spcBef>
                <a:spcPts val="373"/>
              </a:spcBef>
              <a:spcAft>
                <a:spcPts val="0"/>
              </a:spcAft>
              <a:buClr>
                <a:srgbClr val="979899"/>
              </a:buClr>
              <a:buSzPts val="1867"/>
              <a:buNone/>
              <a:defRPr>
                <a:solidFill>
                  <a:srgbClr val="979899"/>
                </a:solidFill>
              </a:defRPr>
            </a:lvl5pPr>
            <a:lvl6pPr lvl="5" algn="ctr">
              <a:spcBef>
                <a:spcPts val="533"/>
              </a:spcBef>
              <a:spcAft>
                <a:spcPts val="0"/>
              </a:spcAft>
              <a:buClr>
                <a:srgbClr val="979899"/>
              </a:buClr>
              <a:buSzPts val="2667"/>
              <a:buNone/>
              <a:defRPr>
                <a:solidFill>
                  <a:srgbClr val="979899"/>
                </a:solidFill>
              </a:defRPr>
            </a:lvl6pPr>
            <a:lvl7pPr lvl="6" algn="ctr">
              <a:spcBef>
                <a:spcPts val="533"/>
              </a:spcBef>
              <a:spcAft>
                <a:spcPts val="0"/>
              </a:spcAft>
              <a:buClr>
                <a:srgbClr val="979899"/>
              </a:buClr>
              <a:buSzPts val="2667"/>
              <a:buNone/>
              <a:defRPr>
                <a:solidFill>
                  <a:srgbClr val="979899"/>
                </a:solidFill>
              </a:defRPr>
            </a:lvl7pPr>
            <a:lvl8pPr lvl="7" algn="ctr">
              <a:spcBef>
                <a:spcPts val="533"/>
              </a:spcBef>
              <a:spcAft>
                <a:spcPts val="0"/>
              </a:spcAft>
              <a:buClr>
                <a:srgbClr val="979899"/>
              </a:buClr>
              <a:buSzPts val="2667"/>
              <a:buNone/>
              <a:defRPr>
                <a:solidFill>
                  <a:srgbClr val="979899"/>
                </a:solidFill>
              </a:defRPr>
            </a:lvl8pPr>
            <a:lvl9pPr lvl="8" algn="ctr">
              <a:spcBef>
                <a:spcPts val="533"/>
              </a:spcBef>
              <a:spcAft>
                <a:spcPts val="0"/>
              </a:spcAft>
              <a:buClr>
                <a:srgbClr val="979899"/>
              </a:buClr>
              <a:buSzPts val="2667"/>
              <a:buNone/>
              <a:defRPr>
                <a:solidFill>
                  <a:srgbClr val="979899"/>
                </a:solidFill>
              </a:defRPr>
            </a:lvl9pPr>
          </a:lstStyle>
          <a:p>
            <a:endParaRPr/>
          </a:p>
        </p:txBody>
      </p:sp>
      <p:pic>
        <p:nvPicPr>
          <p:cNvPr id="18" name="Google Shape;18;p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142" y="498512"/>
            <a:ext cx="3318337" cy="4688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52752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10"/>
          <p:cNvSpPr txBox="1">
            <a:spLocks noGrp="1"/>
          </p:cNvSpPr>
          <p:nvPr>
            <p:ph type="title"/>
          </p:nvPr>
        </p:nvSpPr>
        <p:spPr>
          <a:xfrm>
            <a:off x="1464743" y="389336"/>
            <a:ext cx="9570720" cy="9997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14689"/>
              </a:buClr>
              <a:buSzPts val="3733"/>
              <a:buFont typeface="Calibri"/>
              <a:buNone/>
              <a:defRPr>
                <a:solidFill>
                  <a:srgbClr val="51468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10"/>
          <p:cNvSpPr txBox="1">
            <a:spLocks noGrp="1"/>
          </p:cNvSpPr>
          <p:nvPr>
            <p:ph type="body" idx="1"/>
          </p:nvPr>
        </p:nvSpPr>
        <p:spPr>
          <a:xfrm>
            <a:off x="1241841" y="2035614"/>
            <a:ext cx="4769503" cy="3968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45700" anchor="t" anchorCtr="0">
            <a:noAutofit/>
          </a:bodyPr>
          <a:lstStyle>
            <a:lvl1pPr marL="457200" lvl="0" indent="-372554" algn="l">
              <a:spcBef>
                <a:spcPts val="453"/>
              </a:spcBef>
              <a:spcAft>
                <a:spcPts val="0"/>
              </a:spcAft>
              <a:buSzPts val="2267"/>
              <a:buChar char="•"/>
              <a:defRPr/>
            </a:lvl1pPr>
            <a:lvl2pPr marL="914400" lvl="1" indent="-343763" algn="l">
              <a:spcBef>
                <a:spcPts val="453"/>
              </a:spcBef>
              <a:spcAft>
                <a:spcPts val="0"/>
              </a:spcAft>
              <a:buClr>
                <a:schemeClr val="dk1"/>
              </a:buClr>
              <a:buSzPts val="1814"/>
              <a:buChar char="-"/>
              <a:defRPr/>
            </a:lvl2pPr>
            <a:lvl3pPr marL="1371600" lvl="2" indent="-347154" algn="l"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867"/>
              <a:buChar char="•"/>
              <a:defRPr/>
            </a:lvl3pPr>
            <a:lvl4pPr marL="1828800" lvl="3" indent="-347154" algn="l"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867"/>
              <a:buChar char="•"/>
              <a:defRPr/>
            </a:lvl4pPr>
            <a:lvl5pPr marL="2286000" lvl="4" indent="-347154" algn="l"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867"/>
              <a:buChar char="•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10"/>
          <p:cNvSpPr txBox="1">
            <a:spLocks noGrp="1"/>
          </p:cNvSpPr>
          <p:nvPr>
            <p:ph type="body" idx="2"/>
          </p:nvPr>
        </p:nvSpPr>
        <p:spPr>
          <a:xfrm>
            <a:off x="6261111" y="2032809"/>
            <a:ext cx="4777316" cy="3971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45700" anchor="t" anchorCtr="0">
            <a:noAutofit/>
          </a:bodyPr>
          <a:lstStyle>
            <a:lvl1pPr marL="457200" lvl="0" indent="-372554" algn="l">
              <a:spcBef>
                <a:spcPts val="453"/>
              </a:spcBef>
              <a:spcAft>
                <a:spcPts val="0"/>
              </a:spcAft>
              <a:buSzPts val="2267"/>
              <a:buChar char="•"/>
              <a:defRPr/>
            </a:lvl1pPr>
            <a:lvl2pPr marL="914400" lvl="1" indent="-343763" algn="l">
              <a:spcBef>
                <a:spcPts val="453"/>
              </a:spcBef>
              <a:spcAft>
                <a:spcPts val="0"/>
              </a:spcAft>
              <a:buClr>
                <a:schemeClr val="dk1"/>
              </a:buClr>
              <a:buSzPts val="1814"/>
              <a:buChar char="-"/>
              <a:defRPr/>
            </a:lvl2pPr>
            <a:lvl3pPr marL="1371600" lvl="2" indent="-347154" algn="l"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867"/>
              <a:buChar char="•"/>
              <a:defRPr/>
            </a:lvl3pPr>
            <a:lvl4pPr marL="1828800" lvl="3" indent="-347154" algn="l"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867"/>
              <a:buChar char="•"/>
              <a:defRPr/>
            </a:lvl4pPr>
            <a:lvl5pPr marL="2286000" lvl="4" indent="-347154" algn="l"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867"/>
              <a:buChar char="•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" name="Google Shape;23;p10"/>
          <p:cNvSpPr txBox="1">
            <a:spLocks noGrp="1"/>
          </p:cNvSpPr>
          <p:nvPr>
            <p:ph type="body" idx="3"/>
          </p:nvPr>
        </p:nvSpPr>
        <p:spPr>
          <a:xfrm>
            <a:off x="1464742" y="1380203"/>
            <a:ext cx="9573684" cy="521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45700" anchor="t" anchorCtr="0">
            <a:noAutofit/>
          </a:bodyPr>
          <a:lstStyle>
            <a:lvl1pPr marL="457200" lvl="0" indent="-22860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2667"/>
              <a:buNone/>
              <a:defRPr sz="2667">
                <a:solidFill>
                  <a:schemeClr val="accent2"/>
                </a:solidFill>
              </a:defRPr>
            </a:lvl1pPr>
            <a:lvl2pPr marL="914400" lvl="1" indent="-228600" algn="l">
              <a:spcBef>
                <a:spcPts val="453"/>
              </a:spcBef>
              <a:spcAft>
                <a:spcPts val="0"/>
              </a:spcAft>
              <a:buClr>
                <a:schemeClr val="dk1"/>
              </a:buClr>
              <a:buSzPts val="1814"/>
              <a:buNone/>
              <a:defRPr/>
            </a:lvl2pPr>
            <a:lvl3pPr marL="1371600" lvl="2" indent="-228600" algn="l"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867"/>
              <a:buNone/>
              <a:defRPr/>
            </a:lvl3pPr>
            <a:lvl4pPr marL="1828800" lvl="3" indent="-228600" algn="l"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867"/>
              <a:buNone/>
              <a:defRPr/>
            </a:lvl4pPr>
            <a:lvl5pPr marL="2286000" lvl="4" indent="-228600" algn="l"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867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2803174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1"/>
          <p:cNvSpPr txBox="1">
            <a:spLocks noGrp="1"/>
          </p:cNvSpPr>
          <p:nvPr>
            <p:ph type="title"/>
          </p:nvPr>
        </p:nvSpPr>
        <p:spPr>
          <a:xfrm>
            <a:off x="1464743" y="377145"/>
            <a:ext cx="9573685" cy="1003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14689"/>
              </a:buClr>
              <a:buSzPts val="3733"/>
              <a:buFont typeface="Calibri"/>
              <a:buNone/>
              <a:defRPr>
                <a:solidFill>
                  <a:srgbClr val="51468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11"/>
          <p:cNvSpPr txBox="1">
            <a:spLocks noGrp="1"/>
          </p:cNvSpPr>
          <p:nvPr>
            <p:ph type="body" idx="1"/>
          </p:nvPr>
        </p:nvSpPr>
        <p:spPr>
          <a:xfrm>
            <a:off x="1451427" y="2035613"/>
            <a:ext cx="9586999" cy="3968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45700" anchor="t" anchorCtr="0">
            <a:noAutofit/>
          </a:bodyPr>
          <a:lstStyle>
            <a:lvl1pPr marL="457200" lvl="0" indent="-342900" algn="l"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2004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440"/>
              <a:buChar char="-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" name="Google Shape;27;p11"/>
          <p:cNvSpPr txBox="1">
            <a:spLocks noGrp="1"/>
          </p:cNvSpPr>
          <p:nvPr>
            <p:ph type="body" idx="2"/>
          </p:nvPr>
        </p:nvSpPr>
        <p:spPr>
          <a:xfrm>
            <a:off x="1451430" y="1380203"/>
            <a:ext cx="9586997" cy="521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45700" anchor="t" anchorCtr="0">
            <a:noAutofit/>
          </a:bodyPr>
          <a:lstStyle>
            <a:lvl1pPr marL="457200" lvl="0" indent="-22860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2667"/>
              <a:buNone/>
              <a:defRPr sz="2667">
                <a:solidFill>
                  <a:schemeClr val="accent2"/>
                </a:solidFill>
              </a:defRPr>
            </a:lvl1pPr>
            <a:lvl2pPr marL="914400" lvl="1" indent="-228600" algn="l">
              <a:spcBef>
                <a:spcPts val="453"/>
              </a:spcBef>
              <a:spcAft>
                <a:spcPts val="0"/>
              </a:spcAft>
              <a:buClr>
                <a:schemeClr val="dk1"/>
              </a:buClr>
              <a:buSzPts val="1814"/>
              <a:buNone/>
              <a:defRPr/>
            </a:lvl2pPr>
            <a:lvl3pPr marL="1371600" lvl="2" indent="-228600" algn="l"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867"/>
              <a:buNone/>
              <a:defRPr/>
            </a:lvl3pPr>
            <a:lvl4pPr marL="1828800" lvl="3" indent="-228600" algn="l"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867"/>
              <a:buNone/>
              <a:defRPr/>
            </a:lvl4pPr>
            <a:lvl5pPr marL="2286000" lvl="4" indent="-228600" algn="l"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867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8813957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M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63018" y="3112037"/>
            <a:ext cx="6345767" cy="735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>
                <a:solidFill>
                  <a:srgbClr val="8C2347"/>
                </a:solidFill>
              </a:defRPr>
            </a:lvl1pPr>
            <a:lvl2pPr marL="457200" indent="0">
              <a:buNone/>
              <a:defRPr sz="4000" b="1"/>
            </a:lvl2pPr>
            <a:lvl3pPr marL="914400" indent="0">
              <a:buNone/>
              <a:defRPr sz="4000" b="1"/>
            </a:lvl3pPr>
            <a:lvl4pPr marL="1371600" indent="0">
              <a:buNone/>
              <a:defRPr sz="4000" b="1"/>
            </a:lvl4pPr>
            <a:lvl5pPr marL="1828800" indent="0">
              <a:buNone/>
              <a:defRPr sz="4000" b="1"/>
            </a:lvl5pPr>
          </a:lstStyle>
          <a:p>
            <a:pPr lvl="0"/>
            <a:r>
              <a:rPr lang="en-US"/>
              <a:t>40PT TITL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663018" y="2731036"/>
            <a:ext cx="6345767" cy="381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20pt Headline Here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791245" y="2369595"/>
            <a:ext cx="2416216" cy="1878202"/>
            <a:chOff x="297439" y="2116926"/>
            <a:chExt cx="1826636" cy="1893204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217" y="2677246"/>
              <a:ext cx="1450128" cy="1332884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7439" y="2116926"/>
              <a:ext cx="1826636" cy="5336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84675199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M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663018" y="3112037"/>
            <a:ext cx="6345767" cy="735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>
                <a:solidFill>
                  <a:srgbClr val="8C2347"/>
                </a:solidFill>
              </a:defRPr>
            </a:lvl1pPr>
            <a:lvl2pPr marL="457200" indent="0">
              <a:buNone/>
              <a:defRPr sz="4000" b="1"/>
            </a:lvl2pPr>
            <a:lvl3pPr marL="914400" indent="0">
              <a:buNone/>
              <a:defRPr sz="4000" b="1"/>
            </a:lvl3pPr>
            <a:lvl4pPr marL="1371600" indent="0">
              <a:buNone/>
              <a:defRPr sz="4000" b="1"/>
            </a:lvl4pPr>
            <a:lvl5pPr marL="1828800" indent="0">
              <a:buNone/>
              <a:defRPr sz="4000" b="1"/>
            </a:lvl5pPr>
          </a:lstStyle>
          <a:p>
            <a:pPr lvl="0"/>
            <a:r>
              <a:rPr lang="en-US"/>
              <a:t>40PT TITLE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663018" y="2731036"/>
            <a:ext cx="6345767" cy="381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20pt Headline Here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791245" y="2369595"/>
            <a:ext cx="2416216" cy="1878202"/>
            <a:chOff x="297439" y="2116926"/>
            <a:chExt cx="1826636" cy="1893204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217" y="2677246"/>
              <a:ext cx="1450128" cy="1332884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7439" y="2116926"/>
              <a:ext cx="1826636" cy="5336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8467519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M-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290794"/>
            <a:ext cx="12192000" cy="4567206"/>
          </a:xfrm>
          <a:prstGeom prst="rect">
            <a:avLst/>
          </a:prstGeom>
          <a:solidFill>
            <a:srgbClr val="8D23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lt1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875819" y="4631593"/>
            <a:ext cx="10440363" cy="0"/>
          </a:xfrm>
          <a:prstGeom prst="line">
            <a:avLst/>
          </a:prstGeom>
          <a:ln>
            <a:solidFill>
              <a:srgbClr val="C9C9C9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LM_3C_H-300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8100" y="497976"/>
            <a:ext cx="4584701" cy="1142196"/>
          </a:xfrm>
          <a:prstGeom prst="rect">
            <a:avLst/>
          </a:prstGeom>
        </p:spPr>
      </p:pic>
      <p:pic>
        <p:nvPicPr>
          <p:cNvPr id="11" name="Picture 10" descr="trinity_health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7705" y="1907926"/>
            <a:ext cx="2604577" cy="192492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75819" y="4031767"/>
            <a:ext cx="10440363" cy="381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 i="0" baseline="0">
                <a:solidFill>
                  <a:schemeClr val="bg1"/>
                </a:solidFill>
                <a:latin typeface="Arial"/>
                <a:ea typeface="Times New Roman" charset="0"/>
                <a:cs typeface="Arial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875819" y="4886876"/>
            <a:ext cx="10440363" cy="381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 i="1" baseline="0">
                <a:solidFill>
                  <a:schemeClr val="bg1"/>
                </a:solidFill>
                <a:latin typeface="Times"/>
                <a:ea typeface="Times New Roman" charset="0"/>
                <a:cs typeface="Times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28p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82051216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58743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58743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 type="title">
  <p:cSld name="1_Cover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2"/>
          <p:cNvSpPr/>
          <p:nvPr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000" b="0" i="0" u="none" strike="noStrike" cap="none">
              <a:solidFill>
                <a:schemeClr val="lt1"/>
              </a:solidFill>
              <a:latin typeface="Cambria"/>
              <a:ea typeface="Cambria"/>
              <a:cs typeface="Cambria"/>
              <a:sym typeface="Cambria"/>
            </a:endParaRPr>
          </a:p>
        </p:txBody>
      </p:sp>
      <p:pic>
        <p:nvPicPr>
          <p:cNvPr id="19" name="Google Shape;19;p1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686300"/>
            <a:ext cx="12192000" cy="21717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12"/>
          <p:cNvSpPr txBox="1">
            <a:spLocks noGrp="1"/>
          </p:cNvSpPr>
          <p:nvPr>
            <p:ph type="ctrTitle"/>
          </p:nvPr>
        </p:nvSpPr>
        <p:spPr>
          <a:xfrm>
            <a:off x="979200" y="1828800"/>
            <a:ext cx="10234800" cy="14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Calibri"/>
              <a:buNone/>
              <a:defRPr sz="5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12"/>
          <p:cNvSpPr txBox="1">
            <a:spLocks noGrp="1"/>
          </p:cNvSpPr>
          <p:nvPr>
            <p:ph type="subTitle" idx="1"/>
          </p:nvPr>
        </p:nvSpPr>
        <p:spPr>
          <a:xfrm>
            <a:off x="979200" y="3520800"/>
            <a:ext cx="10234800" cy="44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1pPr>
            <a:lvl2pPr lvl="1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3200"/>
              <a:buFont typeface="Calibri"/>
              <a:buNone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2pPr>
            <a:lvl3pPr lvl="2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3pPr>
            <a:lvl4pPr lvl="3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4pPr>
            <a:lvl5pPr lvl="4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5pPr>
            <a:lvl6pPr lvl="5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6pPr>
            <a:lvl7pPr lvl="6" algn="ctr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7pPr>
            <a:lvl8pPr lvl="7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8pPr>
            <a:lvl9pPr lvl="8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9pPr>
          </a:lstStyle>
          <a:p>
            <a:endParaRPr/>
          </a:p>
        </p:txBody>
      </p:sp>
      <p:sp>
        <p:nvSpPr>
          <p:cNvPr id="22" name="Google Shape;22;p12"/>
          <p:cNvSpPr txBox="1"/>
          <p:nvPr/>
        </p:nvSpPr>
        <p:spPr>
          <a:xfrm>
            <a:off x="11212800" y="6498000"/>
            <a:ext cx="522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400" b="0" i="0" u="none" strike="noStrike" cap="none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400" b="0" i="0" u="none" strike="noStrike" cap="none">
              <a:solidFill>
                <a:srgbClr val="595959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92582184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and Picture">
  <p:cSld name="Content and Picture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3"/>
          <p:cNvSpPr txBox="1">
            <a:spLocks noGrp="1"/>
          </p:cNvSpPr>
          <p:nvPr>
            <p:ph type="body" idx="1"/>
          </p:nvPr>
        </p:nvSpPr>
        <p:spPr>
          <a:xfrm>
            <a:off x="457200" y="1828800"/>
            <a:ext cx="5410800" cy="438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55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​"/>
              <a:defRPr/>
            </a:lvl4pPr>
            <a:lvl5pPr marL="2286000" lvl="4" indent="-3810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2400"/>
              <a:buChar char="​"/>
              <a:defRPr/>
            </a:lvl5pPr>
            <a:lvl6pPr marL="2743200" lvl="5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​"/>
              <a:defRPr/>
            </a:lvl6pPr>
            <a:lvl7pPr marL="3200400" lvl="6" indent="-342900" algn="l">
              <a:lnSpc>
                <a:spcPct val="80000"/>
              </a:lnSpc>
              <a:spcBef>
                <a:spcPts val="900"/>
              </a:spcBef>
              <a:spcAft>
                <a:spcPts val="0"/>
              </a:spcAft>
              <a:buClr>
                <a:schemeClr val="accent5"/>
              </a:buClr>
              <a:buSzPts val="1800"/>
              <a:buChar char="​"/>
              <a:defRPr/>
            </a:lvl7pPr>
            <a:lvl8pPr marL="3657600" lvl="7" indent="-342900" algn="l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​"/>
              <a:defRPr/>
            </a:lvl8pPr>
            <a:lvl9pPr marL="4114800" lvl="8" indent="-342900" algn="l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​"/>
              <a:defRPr/>
            </a:lvl9pPr>
          </a:lstStyle>
          <a:p>
            <a:endParaRPr/>
          </a:p>
        </p:txBody>
      </p:sp>
      <p:sp>
        <p:nvSpPr>
          <p:cNvPr id="25" name="Google Shape;25;p13"/>
          <p:cNvSpPr txBox="1">
            <a:spLocks noGrp="1"/>
          </p:cNvSpPr>
          <p:nvPr>
            <p:ph type="subTitle" idx="2"/>
          </p:nvPr>
        </p:nvSpPr>
        <p:spPr>
          <a:xfrm>
            <a:off x="456000" y="6217200"/>
            <a:ext cx="11278800" cy="18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00"/>
              <a:buFont typeface="Calibri"/>
              <a:buChar char="​"/>
              <a:defRPr sz="80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3200"/>
              <a:buFont typeface="Calibri"/>
              <a:buNone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2pPr>
            <a:lvl3pPr lvl="2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3pPr>
            <a:lvl4pPr lvl="3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4pPr>
            <a:lvl5pPr lvl="4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5pPr>
            <a:lvl6pPr lvl="5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6pPr>
            <a:lvl7pPr lvl="6" algn="ctr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7pPr>
            <a:lvl8pPr lvl="7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8pPr>
            <a:lvl9pPr lvl="8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9pPr>
          </a:lstStyle>
          <a:p>
            <a:endParaRPr/>
          </a:p>
        </p:txBody>
      </p:sp>
      <p:sp>
        <p:nvSpPr>
          <p:cNvPr id="26" name="Google Shape;26;p13"/>
          <p:cNvSpPr>
            <a:spLocks noGrp="1"/>
          </p:cNvSpPr>
          <p:nvPr>
            <p:ph type="pic" idx="3"/>
          </p:nvPr>
        </p:nvSpPr>
        <p:spPr>
          <a:xfrm>
            <a:off x="6325200" y="1828800"/>
            <a:ext cx="5410800" cy="4388400"/>
          </a:xfrm>
          <a:prstGeom prst="rect">
            <a:avLst/>
          </a:prstGeom>
          <a:noFill/>
          <a:ln>
            <a:noFill/>
          </a:ln>
        </p:spPr>
      </p:sp>
      <p:sp>
        <p:nvSpPr>
          <p:cNvPr id="27" name="Google Shape;27;p13"/>
          <p:cNvSpPr txBox="1">
            <a:spLocks noGrp="1"/>
          </p:cNvSpPr>
          <p:nvPr>
            <p:ph type="dt" idx="10"/>
          </p:nvPr>
        </p:nvSpPr>
        <p:spPr>
          <a:xfrm>
            <a:off x="10111200" y="6498000"/>
            <a:ext cx="9792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13"/>
          <p:cNvSpPr txBox="1">
            <a:spLocks noGrp="1"/>
          </p:cNvSpPr>
          <p:nvPr>
            <p:ph type="ftr" idx="11"/>
          </p:nvPr>
        </p:nvSpPr>
        <p:spPr>
          <a:xfrm>
            <a:off x="2597850" y="6498000"/>
            <a:ext cx="69963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13"/>
          <p:cNvSpPr txBox="1">
            <a:spLocks noGrp="1"/>
          </p:cNvSpPr>
          <p:nvPr>
            <p:ph type="sldNum" idx="12"/>
          </p:nvPr>
        </p:nvSpPr>
        <p:spPr>
          <a:xfrm>
            <a:off x="11212800" y="6498000"/>
            <a:ext cx="522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0" name="Google Shape;30;p13"/>
          <p:cNvSpPr txBox="1">
            <a:spLocks noGrp="1"/>
          </p:cNvSpPr>
          <p:nvPr>
            <p:ph type="title"/>
          </p:nvPr>
        </p:nvSpPr>
        <p:spPr>
          <a:xfrm>
            <a:off x="457200" y="457200"/>
            <a:ext cx="11278800" cy="120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3702241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: Green">
  <p:cSld name="Title and Content: Green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oogle Shape;32;p1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295900"/>
            <a:ext cx="12192000" cy="1562099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Google Shape;33;p14"/>
          <p:cNvSpPr txBox="1">
            <a:spLocks noGrp="1"/>
          </p:cNvSpPr>
          <p:nvPr>
            <p:ph type="body" idx="1"/>
          </p:nvPr>
        </p:nvSpPr>
        <p:spPr>
          <a:xfrm>
            <a:off x="457200" y="1828800"/>
            <a:ext cx="11278800" cy="336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55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​"/>
              <a:defRPr/>
            </a:lvl4pPr>
            <a:lvl5pPr marL="2286000" lvl="4" indent="-3810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2400"/>
              <a:buChar char="​"/>
              <a:defRPr/>
            </a:lvl5pPr>
            <a:lvl6pPr marL="2743200" lvl="5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​"/>
              <a:defRPr/>
            </a:lvl6pPr>
            <a:lvl7pPr marL="3200400" lvl="6" indent="-342900" algn="l">
              <a:lnSpc>
                <a:spcPct val="80000"/>
              </a:lnSpc>
              <a:spcBef>
                <a:spcPts val="900"/>
              </a:spcBef>
              <a:spcAft>
                <a:spcPts val="0"/>
              </a:spcAft>
              <a:buClr>
                <a:schemeClr val="accent5"/>
              </a:buClr>
              <a:buSzPts val="1800"/>
              <a:buChar char="​"/>
              <a:defRPr/>
            </a:lvl7pPr>
            <a:lvl8pPr marL="3657600" lvl="7" indent="-342900" algn="l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​"/>
              <a:defRPr/>
            </a:lvl8pPr>
            <a:lvl9pPr marL="4114800" lvl="8" indent="-342900" algn="l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​"/>
              <a:defRPr/>
            </a:lvl9pPr>
          </a:lstStyle>
          <a:p>
            <a:endParaRPr/>
          </a:p>
        </p:txBody>
      </p:sp>
      <p:sp>
        <p:nvSpPr>
          <p:cNvPr id="34" name="Google Shape;34;p14"/>
          <p:cNvSpPr txBox="1">
            <a:spLocks noGrp="1"/>
          </p:cNvSpPr>
          <p:nvPr>
            <p:ph type="subTitle" idx="2"/>
          </p:nvPr>
        </p:nvSpPr>
        <p:spPr>
          <a:xfrm>
            <a:off x="456000" y="5204099"/>
            <a:ext cx="11278800" cy="18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800"/>
              <a:buFont typeface="Calibri"/>
              <a:buChar char="​"/>
              <a:defRPr sz="800" i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3200"/>
              <a:buFont typeface="Calibri"/>
              <a:buNone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2pPr>
            <a:lvl3pPr lvl="2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3pPr>
            <a:lvl4pPr lvl="3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4pPr>
            <a:lvl5pPr lvl="4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5pPr>
            <a:lvl6pPr lvl="5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6pPr>
            <a:lvl7pPr lvl="6" algn="ctr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7pPr>
            <a:lvl8pPr lvl="7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8pPr>
            <a:lvl9pPr lvl="8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Char char="​"/>
              <a:defRPr sz="3200" i="1">
                <a:solidFill>
                  <a:schemeClr val="lt1"/>
                </a:solidFill>
                <a:latin typeface="Cambria"/>
                <a:ea typeface="Cambria"/>
                <a:cs typeface="Cambria"/>
                <a:sym typeface="Cambria"/>
              </a:defRPr>
            </a:lvl9pPr>
          </a:lstStyle>
          <a:p>
            <a:endParaRPr/>
          </a:p>
        </p:txBody>
      </p:sp>
      <p:sp>
        <p:nvSpPr>
          <p:cNvPr id="35" name="Google Shape;35;p14"/>
          <p:cNvSpPr txBox="1">
            <a:spLocks noGrp="1"/>
          </p:cNvSpPr>
          <p:nvPr>
            <p:ph type="dt" idx="10"/>
          </p:nvPr>
        </p:nvSpPr>
        <p:spPr>
          <a:xfrm>
            <a:off x="10111200" y="6498000"/>
            <a:ext cx="9792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14"/>
          <p:cNvSpPr txBox="1">
            <a:spLocks noGrp="1"/>
          </p:cNvSpPr>
          <p:nvPr>
            <p:ph type="ftr" idx="11"/>
          </p:nvPr>
        </p:nvSpPr>
        <p:spPr>
          <a:xfrm>
            <a:off x="2597850" y="6498000"/>
            <a:ext cx="69963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4"/>
          <p:cNvSpPr txBox="1">
            <a:spLocks noGrp="1"/>
          </p:cNvSpPr>
          <p:nvPr>
            <p:ph type="sldNum" idx="12"/>
          </p:nvPr>
        </p:nvSpPr>
        <p:spPr>
          <a:xfrm>
            <a:off x="11212800" y="6498000"/>
            <a:ext cx="522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" name="Google Shape;38;p14"/>
          <p:cNvSpPr txBox="1"/>
          <p:nvPr/>
        </p:nvSpPr>
        <p:spPr>
          <a:xfrm>
            <a:off x="464042" y="6498000"/>
            <a:ext cx="2252557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Calibri"/>
              <a:buNone/>
            </a:pPr>
            <a:r>
              <a:rPr lang="en-US"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OSF HealthCare</a:t>
            </a:r>
            <a:endParaRPr/>
          </a:p>
        </p:txBody>
      </p:sp>
      <p:sp>
        <p:nvSpPr>
          <p:cNvPr id="39" name="Google Shape;39;p14"/>
          <p:cNvSpPr txBox="1">
            <a:spLocks noGrp="1"/>
          </p:cNvSpPr>
          <p:nvPr>
            <p:ph type="title"/>
          </p:nvPr>
        </p:nvSpPr>
        <p:spPr>
          <a:xfrm>
            <a:off x="457200" y="457200"/>
            <a:ext cx="11278800" cy="120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519363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3010 G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574E4772-CB42-4FBC-8F07-88F11BC9AE5B}"/>
              </a:ext>
            </a:extLst>
          </p:cNvPr>
          <p:cNvGrpSpPr/>
          <p:nvPr userDrawn="1"/>
        </p:nvGrpSpPr>
        <p:grpSpPr>
          <a:xfrm>
            <a:off x="0" y="-1"/>
            <a:ext cx="12192000" cy="6867660"/>
            <a:chOff x="0" y="-1"/>
            <a:chExt cx="9144000" cy="686766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2E95A938-7ABD-4563-A973-43E0E1D3B61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" r="11111" b="-141"/>
            <a:stretch/>
          </p:blipFill>
          <p:spPr>
            <a:xfrm>
              <a:off x="0" y="-1"/>
              <a:ext cx="9144000" cy="686766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438574F-E1CA-4D9C-B828-856B8ACFD6A0}"/>
                </a:ext>
              </a:extLst>
            </p:cNvPr>
            <p:cNvSpPr/>
            <p:nvPr userDrawn="1"/>
          </p:nvSpPr>
          <p:spPr>
            <a:xfrm>
              <a:off x="502952" y="582937"/>
              <a:ext cx="8138097" cy="5692127"/>
            </a:xfrm>
            <a:prstGeom prst="rect">
              <a:avLst/>
            </a:prstGeom>
            <a:solidFill>
              <a:schemeClr val="bg1">
                <a:alpha val="8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75" dirty="0"/>
            </a:p>
          </p:txBody>
        </p:sp>
      </p:grp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85FDEA-4B68-4825-B155-8D1BCEB5A6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97804" y="3959929"/>
            <a:ext cx="8596392" cy="23943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CB37CF-A5BD-42BD-8D22-25EA39DC2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0492" y="3252529"/>
            <a:ext cx="9810237" cy="656851"/>
          </a:xfrm>
          <a:prstGeom prst="rect">
            <a:avLst/>
          </a:prstGeom>
        </p:spPr>
        <p:txBody>
          <a:bodyPr/>
          <a:lstStyle>
            <a:lvl1pPr algn="ctr">
              <a:defRPr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9F1602D-FCB4-4991-9115-6AF2460A5F84}"/>
              </a:ext>
            </a:extLst>
          </p:cNvPr>
          <p:cNvCxnSpPr/>
          <p:nvPr userDrawn="1"/>
        </p:nvCxnSpPr>
        <p:spPr>
          <a:xfrm>
            <a:off x="3210632" y="4336561"/>
            <a:ext cx="5735781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ED3C5D79-BE58-4D23-A650-C713160E051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0117" y="1503517"/>
            <a:ext cx="4507948" cy="133548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5C1D295-5C3A-4370-8CED-822B2B70C3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83864" y="4501842"/>
            <a:ext cx="3359151" cy="38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43217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3010 G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574E4772-CB42-4FBC-8F07-88F11BC9AE5B}"/>
              </a:ext>
            </a:extLst>
          </p:cNvPr>
          <p:cNvGrpSpPr/>
          <p:nvPr userDrawn="1"/>
        </p:nvGrpSpPr>
        <p:grpSpPr>
          <a:xfrm>
            <a:off x="0" y="-1"/>
            <a:ext cx="12192000" cy="6867660"/>
            <a:chOff x="0" y="-1"/>
            <a:chExt cx="9144000" cy="686766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2E95A938-7ABD-4563-A973-43E0E1D3B61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" r="11111" b="-141"/>
            <a:stretch/>
          </p:blipFill>
          <p:spPr>
            <a:xfrm>
              <a:off x="0" y="-1"/>
              <a:ext cx="9144000" cy="686766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438574F-E1CA-4D9C-B828-856B8ACFD6A0}"/>
                </a:ext>
              </a:extLst>
            </p:cNvPr>
            <p:cNvSpPr/>
            <p:nvPr userDrawn="1"/>
          </p:nvSpPr>
          <p:spPr>
            <a:xfrm>
              <a:off x="502952" y="582937"/>
              <a:ext cx="8138097" cy="5692127"/>
            </a:xfrm>
            <a:prstGeom prst="rect">
              <a:avLst/>
            </a:prstGeom>
            <a:solidFill>
              <a:schemeClr val="bg1">
                <a:alpha val="8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75" dirty="0"/>
            </a:p>
          </p:txBody>
        </p:sp>
      </p:grp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85FDEA-4B68-4825-B155-8D1BCEB5A6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97804" y="3959929"/>
            <a:ext cx="8596392" cy="23943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CB37CF-A5BD-42BD-8D22-25EA39DC2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0492" y="3252529"/>
            <a:ext cx="9810237" cy="656851"/>
          </a:xfrm>
          <a:prstGeom prst="rect">
            <a:avLst/>
          </a:prstGeom>
        </p:spPr>
        <p:txBody>
          <a:bodyPr/>
          <a:lstStyle>
            <a:lvl1pPr algn="ctr">
              <a:defRPr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9F1602D-FCB4-4991-9115-6AF2460A5F84}"/>
              </a:ext>
            </a:extLst>
          </p:cNvPr>
          <p:cNvCxnSpPr/>
          <p:nvPr userDrawn="1"/>
        </p:nvCxnSpPr>
        <p:spPr>
          <a:xfrm>
            <a:off x="3210632" y="4336561"/>
            <a:ext cx="5735781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ED3C5D79-BE58-4D23-A650-C713160E051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0117" y="1503517"/>
            <a:ext cx="4507948" cy="133548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5C1D295-5C3A-4370-8CED-822B2B70C3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83864" y="4501842"/>
            <a:ext cx="3359151" cy="38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432173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77634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defRPr/>
            </a:lvl1pPr>
            <a:lvl2pPr>
              <a:lnSpc>
                <a:spcPct val="100000"/>
              </a:lnSpc>
              <a:spcAft>
                <a:spcPts val="600"/>
              </a:spcAft>
              <a:defRPr sz="1800"/>
            </a:lvl2pPr>
            <a:lvl3pPr>
              <a:lnSpc>
                <a:spcPct val="100000"/>
              </a:lnSpc>
              <a:spcAft>
                <a:spcPts val="600"/>
              </a:spcAft>
              <a:defRPr sz="1800"/>
            </a:lvl3pPr>
            <a:lvl4pPr>
              <a:lnSpc>
                <a:spcPct val="100000"/>
              </a:lnSpc>
              <a:spcAft>
                <a:spcPts val="600"/>
              </a:spcAft>
              <a:defRPr sz="1800"/>
            </a:lvl4pPr>
            <a:lvl5pPr>
              <a:lnSpc>
                <a:spcPct val="100000"/>
              </a:lnSpc>
              <a:spcAft>
                <a:spcPts val="600"/>
              </a:spcAft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MY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D5B5F89-B464-49A5-A01C-BBE726DBCC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38345326-6BD8-42E0-AB8D-F4C594C968BC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1524000" y="1040179"/>
            <a:ext cx="9144000" cy="436562"/>
          </a:xfrm>
        </p:spPr>
        <p:txBody>
          <a:bodyPr>
            <a:normAutofit/>
          </a:bodyPr>
          <a:lstStyle>
            <a:lvl1pPr marL="0" indent="0" algn="ctr">
              <a:buNone/>
              <a:defRPr sz="15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122581749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71728"/>
            <a:ext cx="10515600" cy="886732"/>
          </a:xfrm>
          <a:prstGeom prst="rect">
            <a:avLst/>
          </a:prstGeom>
        </p:spPr>
        <p:txBody>
          <a:bodyPr/>
          <a:lstStyle>
            <a:lvl1pPr algn="ctr">
              <a:defRPr b="1"/>
            </a:lvl1pPr>
          </a:lstStyle>
          <a:p>
            <a:r>
              <a:rPr lang="en-US" dirty="0"/>
              <a:t>Click to edit Master title style</a:t>
            </a:r>
            <a:endParaRPr lang="en-MY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524000" y="1040179"/>
            <a:ext cx="9144000" cy="436562"/>
          </a:xfrm>
        </p:spPr>
        <p:txBody>
          <a:bodyPr>
            <a:normAutofit/>
          </a:bodyPr>
          <a:lstStyle>
            <a:lvl1pPr marL="0" indent="0" algn="ctr">
              <a:buNone/>
              <a:defRPr sz="15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80502408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Title - 3010 G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F5C557-5E21-455D-9C20-1C6DB1B3D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11111" b="-141"/>
          <a:stretch/>
        </p:blipFill>
        <p:spPr>
          <a:xfrm>
            <a:off x="0" y="-1"/>
            <a:ext cx="12192000" cy="68676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BDF7C4C-4A12-479D-B86B-6494947CA85C}"/>
              </a:ext>
            </a:extLst>
          </p:cNvPr>
          <p:cNvSpPr/>
          <p:nvPr userDrawn="1"/>
        </p:nvSpPr>
        <p:spPr>
          <a:xfrm>
            <a:off x="670603" y="582938"/>
            <a:ext cx="10850796" cy="5692127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5B1B364-5059-43D6-AF70-E1B60213278E}"/>
              </a:ext>
            </a:extLst>
          </p:cNvPr>
          <p:cNvSpPr/>
          <p:nvPr userDrawn="1"/>
        </p:nvSpPr>
        <p:spPr>
          <a:xfrm>
            <a:off x="3658731" y="4654351"/>
            <a:ext cx="4874539" cy="998401"/>
          </a:xfrm>
          <a:prstGeom prst="rect">
            <a:avLst/>
          </a:prstGeom>
        </p:spPr>
        <p:txBody>
          <a:bodyPr wrap="square" lIns="91424" tIns="45713" rIns="91424" bIns="45713">
            <a:spAutoFit/>
          </a:bodyPr>
          <a:lstStyle/>
          <a:p>
            <a:pPr algn="ctr"/>
            <a:endParaRPr lang="en-US" sz="1200" dirty="0"/>
          </a:p>
          <a:p>
            <a:pPr algn="ctr"/>
            <a:r>
              <a:rPr lang="en-US" sz="1200" dirty="0"/>
              <a:t>3010 Grand Avenue, Waukegan, Illinois 60085</a:t>
            </a:r>
            <a:br>
              <a:rPr lang="en-US" sz="1200" dirty="0"/>
            </a:br>
            <a:r>
              <a:rPr lang="en-US" sz="1200" dirty="0"/>
              <a:t>(847) 377-8000</a:t>
            </a:r>
          </a:p>
          <a:p>
            <a:pPr algn="ctr" defTabSz="685663"/>
            <a:r>
              <a:rPr lang="en-US" sz="1200" dirty="0"/>
              <a:t>health.lakecountyil.gov</a:t>
            </a:r>
          </a:p>
          <a:p>
            <a:pPr algn="ctr" defTabSz="685663"/>
            <a:endParaRPr lang="en-US" sz="1088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C763EDB-07A1-47B2-AF9C-81568B459EAC}"/>
              </a:ext>
            </a:extLst>
          </p:cNvPr>
          <p:cNvCxnSpPr/>
          <p:nvPr userDrawn="1"/>
        </p:nvCxnSpPr>
        <p:spPr>
          <a:xfrm>
            <a:off x="3228110" y="4704077"/>
            <a:ext cx="5735781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 descr="https://www.jointcommission.org/assets/1/6/GoldSeal_4color.jpg">
            <a:extLst>
              <a:ext uri="{FF2B5EF4-FFF2-40B4-BE49-F238E27FC236}">
                <a16:creationId xmlns:a16="http://schemas.microsoft.com/office/drawing/2014/main" id="{0BE8AD7D-3420-4FB8-BDFA-41699CF1FA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662" y="3075919"/>
            <a:ext cx="1788677" cy="1341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9BD1A0ED-D886-427C-B685-AFE9ADDF2496}"/>
              </a:ext>
            </a:extLst>
          </p:cNvPr>
          <p:cNvGrpSpPr/>
          <p:nvPr userDrawn="1"/>
        </p:nvGrpSpPr>
        <p:grpSpPr>
          <a:xfrm>
            <a:off x="2746082" y="5591775"/>
            <a:ext cx="6699839" cy="282626"/>
            <a:chOff x="2260857" y="5636225"/>
            <a:chExt cx="5024879" cy="282626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0BEE658-5FC2-41C1-AE02-6DFEAE7ED21B}"/>
                </a:ext>
              </a:extLst>
            </p:cNvPr>
            <p:cNvGrpSpPr/>
            <p:nvPr userDrawn="1"/>
          </p:nvGrpSpPr>
          <p:grpSpPr>
            <a:xfrm>
              <a:off x="2260857" y="5636225"/>
              <a:ext cx="1350547" cy="282626"/>
              <a:chOff x="2260857" y="5636225"/>
              <a:chExt cx="1350547" cy="282626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EA3BC408-ACA6-4ADA-AA57-B5B4023B2F40}"/>
                  </a:ext>
                </a:extLst>
              </p:cNvPr>
              <p:cNvSpPr/>
              <p:nvPr userDrawn="1"/>
            </p:nvSpPr>
            <p:spPr>
              <a:xfrm>
                <a:off x="2543483" y="5673664"/>
                <a:ext cx="1067921" cy="2308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900" dirty="0"/>
                  <a:t>HealthDepartment</a:t>
                </a:r>
              </a:p>
            </p:txBody>
          </p:sp>
          <p:sp>
            <p:nvSpPr>
              <p:cNvPr id="12" name="Freeform 312">
                <a:extLst>
                  <a:ext uri="{FF2B5EF4-FFF2-40B4-BE49-F238E27FC236}">
                    <a16:creationId xmlns:a16="http://schemas.microsoft.com/office/drawing/2014/main" id="{F3852112-C658-41A1-8D16-D75C465A1F9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60857" y="5636225"/>
                <a:ext cx="282626" cy="282626"/>
              </a:xfrm>
              <a:custGeom>
                <a:avLst/>
                <a:gdLst>
                  <a:gd name="T0" fmla="*/ 101 w 185"/>
                  <a:gd name="T1" fmla="*/ 72 h 185"/>
                  <a:gd name="T2" fmla="*/ 106 w 185"/>
                  <a:gd name="T3" fmla="*/ 67 h 185"/>
                  <a:gd name="T4" fmla="*/ 113 w 185"/>
                  <a:gd name="T5" fmla="*/ 67 h 185"/>
                  <a:gd name="T6" fmla="*/ 113 w 185"/>
                  <a:gd name="T7" fmla="*/ 54 h 185"/>
                  <a:gd name="T8" fmla="*/ 102 w 185"/>
                  <a:gd name="T9" fmla="*/ 54 h 185"/>
                  <a:gd name="T10" fmla="*/ 84 w 185"/>
                  <a:gd name="T11" fmla="*/ 71 h 185"/>
                  <a:gd name="T12" fmla="*/ 84 w 185"/>
                  <a:gd name="T13" fmla="*/ 80 h 185"/>
                  <a:gd name="T14" fmla="*/ 75 w 185"/>
                  <a:gd name="T15" fmla="*/ 80 h 185"/>
                  <a:gd name="T16" fmla="*/ 75 w 185"/>
                  <a:gd name="T17" fmla="*/ 92 h 185"/>
                  <a:gd name="T18" fmla="*/ 84 w 185"/>
                  <a:gd name="T19" fmla="*/ 92 h 185"/>
                  <a:gd name="T20" fmla="*/ 84 w 185"/>
                  <a:gd name="T21" fmla="*/ 130 h 185"/>
                  <a:gd name="T22" fmla="*/ 101 w 185"/>
                  <a:gd name="T23" fmla="*/ 130 h 185"/>
                  <a:gd name="T24" fmla="*/ 101 w 185"/>
                  <a:gd name="T25" fmla="*/ 92 h 185"/>
                  <a:gd name="T26" fmla="*/ 112 w 185"/>
                  <a:gd name="T27" fmla="*/ 92 h 185"/>
                  <a:gd name="T28" fmla="*/ 113 w 185"/>
                  <a:gd name="T29" fmla="*/ 80 h 185"/>
                  <a:gd name="T30" fmla="*/ 101 w 185"/>
                  <a:gd name="T31" fmla="*/ 80 h 185"/>
                  <a:gd name="T32" fmla="*/ 101 w 185"/>
                  <a:gd name="T33" fmla="*/ 72 h 185"/>
                  <a:gd name="T34" fmla="*/ 92 w 185"/>
                  <a:gd name="T35" fmla="*/ 0 h 185"/>
                  <a:gd name="T36" fmla="*/ 0 w 185"/>
                  <a:gd name="T37" fmla="*/ 92 h 185"/>
                  <a:gd name="T38" fmla="*/ 92 w 185"/>
                  <a:gd name="T39" fmla="*/ 185 h 185"/>
                  <a:gd name="T40" fmla="*/ 185 w 185"/>
                  <a:gd name="T41" fmla="*/ 92 h 185"/>
                  <a:gd name="T42" fmla="*/ 92 w 185"/>
                  <a:gd name="T43" fmla="*/ 0 h 185"/>
                  <a:gd name="T44" fmla="*/ 92 w 185"/>
                  <a:gd name="T45" fmla="*/ 177 h 185"/>
                  <a:gd name="T46" fmla="*/ 8 w 185"/>
                  <a:gd name="T47" fmla="*/ 92 h 185"/>
                  <a:gd name="T48" fmla="*/ 92 w 185"/>
                  <a:gd name="T49" fmla="*/ 8 h 185"/>
                  <a:gd name="T50" fmla="*/ 177 w 185"/>
                  <a:gd name="T51" fmla="*/ 92 h 185"/>
                  <a:gd name="T52" fmla="*/ 92 w 185"/>
                  <a:gd name="T53" fmla="*/ 177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5" h="185">
                    <a:moveTo>
                      <a:pt x="101" y="72"/>
                    </a:moveTo>
                    <a:cubicBezTo>
                      <a:pt x="101" y="69"/>
                      <a:pt x="101" y="67"/>
                      <a:pt x="106" y="67"/>
                    </a:cubicBezTo>
                    <a:cubicBezTo>
                      <a:pt x="113" y="67"/>
                      <a:pt x="113" y="67"/>
                      <a:pt x="113" y="67"/>
                    </a:cubicBezTo>
                    <a:cubicBezTo>
                      <a:pt x="113" y="54"/>
                      <a:pt x="113" y="54"/>
                      <a:pt x="113" y="54"/>
                    </a:cubicBezTo>
                    <a:cubicBezTo>
                      <a:pt x="102" y="54"/>
                      <a:pt x="102" y="54"/>
                      <a:pt x="102" y="54"/>
                    </a:cubicBezTo>
                    <a:cubicBezTo>
                      <a:pt x="89" y="54"/>
                      <a:pt x="84" y="61"/>
                      <a:pt x="84" y="71"/>
                    </a:cubicBezTo>
                    <a:cubicBezTo>
                      <a:pt x="84" y="80"/>
                      <a:pt x="84" y="80"/>
                      <a:pt x="84" y="80"/>
                    </a:cubicBezTo>
                    <a:cubicBezTo>
                      <a:pt x="75" y="80"/>
                      <a:pt x="75" y="80"/>
                      <a:pt x="75" y="80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84" y="92"/>
                      <a:pt x="84" y="92"/>
                      <a:pt x="84" y="92"/>
                    </a:cubicBezTo>
                    <a:cubicBezTo>
                      <a:pt x="84" y="130"/>
                      <a:pt x="84" y="130"/>
                      <a:pt x="84" y="130"/>
                    </a:cubicBezTo>
                    <a:cubicBezTo>
                      <a:pt x="101" y="130"/>
                      <a:pt x="101" y="130"/>
                      <a:pt x="101" y="130"/>
                    </a:cubicBezTo>
                    <a:cubicBezTo>
                      <a:pt x="101" y="92"/>
                      <a:pt x="101" y="92"/>
                      <a:pt x="101" y="92"/>
                    </a:cubicBezTo>
                    <a:cubicBezTo>
                      <a:pt x="112" y="92"/>
                      <a:pt x="112" y="92"/>
                      <a:pt x="112" y="92"/>
                    </a:cubicBezTo>
                    <a:cubicBezTo>
                      <a:pt x="113" y="80"/>
                      <a:pt x="113" y="80"/>
                      <a:pt x="113" y="80"/>
                    </a:cubicBezTo>
                    <a:cubicBezTo>
                      <a:pt x="101" y="80"/>
                      <a:pt x="101" y="80"/>
                      <a:pt x="101" y="80"/>
                    </a:cubicBezTo>
                    <a:lnTo>
                      <a:pt x="101" y="72"/>
                    </a:lnTo>
                    <a:close/>
                    <a:moveTo>
                      <a:pt x="92" y="0"/>
                    </a:moveTo>
                    <a:cubicBezTo>
                      <a:pt x="41" y="0"/>
                      <a:pt x="0" y="41"/>
                      <a:pt x="0" y="92"/>
                    </a:cubicBezTo>
                    <a:cubicBezTo>
                      <a:pt x="0" y="144"/>
                      <a:pt x="41" y="185"/>
                      <a:pt x="92" y="185"/>
                    </a:cubicBezTo>
                    <a:cubicBezTo>
                      <a:pt x="144" y="185"/>
                      <a:pt x="185" y="144"/>
                      <a:pt x="185" y="92"/>
                    </a:cubicBezTo>
                    <a:cubicBezTo>
                      <a:pt x="185" y="41"/>
                      <a:pt x="144" y="0"/>
                      <a:pt x="92" y="0"/>
                    </a:cubicBezTo>
                    <a:close/>
                    <a:moveTo>
                      <a:pt x="92" y="177"/>
                    </a:moveTo>
                    <a:cubicBezTo>
                      <a:pt x="46" y="177"/>
                      <a:pt x="8" y="139"/>
                      <a:pt x="8" y="92"/>
                    </a:cubicBezTo>
                    <a:cubicBezTo>
                      <a:pt x="8" y="46"/>
                      <a:pt x="46" y="8"/>
                      <a:pt x="92" y="8"/>
                    </a:cubicBezTo>
                    <a:cubicBezTo>
                      <a:pt x="139" y="8"/>
                      <a:pt x="177" y="46"/>
                      <a:pt x="177" y="92"/>
                    </a:cubicBezTo>
                    <a:cubicBezTo>
                      <a:pt x="177" y="139"/>
                      <a:pt x="139" y="177"/>
                      <a:pt x="92" y="177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E6AE92A-4D0C-4B31-A7E4-8125CE14952F}"/>
                </a:ext>
              </a:extLst>
            </p:cNvPr>
            <p:cNvGrpSpPr/>
            <p:nvPr userDrawn="1"/>
          </p:nvGrpSpPr>
          <p:grpSpPr>
            <a:xfrm>
              <a:off x="4178273" y="5636225"/>
              <a:ext cx="1309946" cy="282626"/>
              <a:chOff x="4178273" y="5636225"/>
              <a:chExt cx="1309946" cy="282626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BCCACEB8-EBF4-4AE9-8BE2-91E44B86D881}"/>
                  </a:ext>
                </a:extLst>
              </p:cNvPr>
              <p:cNvSpPr/>
              <p:nvPr userDrawn="1"/>
            </p:nvSpPr>
            <p:spPr>
              <a:xfrm>
                <a:off x="4457168" y="5672001"/>
                <a:ext cx="1031051" cy="2308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900" dirty="0"/>
                  <a:t>@LakeCoHealth</a:t>
                </a:r>
              </a:p>
            </p:txBody>
          </p:sp>
          <p:sp>
            <p:nvSpPr>
              <p:cNvPr id="13" name="Freeform 311">
                <a:extLst>
                  <a:ext uri="{FF2B5EF4-FFF2-40B4-BE49-F238E27FC236}">
                    <a16:creationId xmlns:a16="http://schemas.microsoft.com/office/drawing/2014/main" id="{322EBEA5-0BC9-4FFF-82FB-4ECA2741C85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178273" y="5636225"/>
                <a:ext cx="283464" cy="282626"/>
              </a:xfrm>
              <a:custGeom>
                <a:avLst/>
                <a:gdLst>
                  <a:gd name="T0" fmla="*/ 137 w 186"/>
                  <a:gd name="T1" fmla="*/ 60 h 185"/>
                  <a:gd name="T2" fmla="*/ 126 w 186"/>
                  <a:gd name="T3" fmla="*/ 64 h 185"/>
                  <a:gd name="T4" fmla="*/ 113 w 186"/>
                  <a:gd name="T5" fmla="*/ 59 h 185"/>
                  <a:gd name="T6" fmla="*/ 96 w 186"/>
                  <a:gd name="T7" fmla="*/ 76 h 185"/>
                  <a:gd name="T8" fmla="*/ 97 w 186"/>
                  <a:gd name="T9" fmla="*/ 80 h 185"/>
                  <a:gd name="T10" fmla="*/ 61 w 186"/>
                  <a:gd name="T11" fmla="*/ 62 h 185"/>
                  <a:gd name="T12" fmla="*/ 59 w 186"/>
                  <a:gd name="T13" fmla="*/ 70 h 185"/>
                  <a:gd name="T14" fmla="*/ 66 w 186"/>
                  <a:gd name="T15" fmla="*/ 84 h 185"/>
                  <a:gd name="T16" fmla="*/ 58 w 186"/>
                  <a:gd name="T17" fmla="*/ 82 h 185"/>
                  <a:gd name="T18" fmla="*/ 58 w 186"/>
                  <a:gd name="T19" fmla="*/ 83 h 185"/>
                  <a:gd name="T20" fmla="*/ 72 w 186"/>
                  <a:gd name="T21" fmla="*/ 99 h 185"/>
                  <a:gd name="T22" fmla="*/ 68 w 186"/>
                  <a:gd name="T23" fmla="*/ 100 h 185"/>
                  <a:gd name="T24" fmla="*/ 64 w 186"/>
                  <a:gd name="T25" fmla="*/ 100 h 185"/>
                  <a:gd name="T26" fmla="*/ 81 w 186"/>
                  <a:gd name="T27" fmla="*/ 111 h 185"/>
                  <a:gd name="T28" fmla="*/ 59 w 186"/>
                  <a:gd name="T29" fmla="*/ 119 h 185"/>
                  <a:gd name="T30" fmla="*/ 55 w 186"/>
                  <a:gd name="T31" fmla="*/ 118 h 185"/>
                  <a:gd name="T32" fmla="*/ 82 w 186"/>
                  <a:gd name="T33" fmla="*/ 126 h 185"/>
                  <a:gd name="T34" fmla="*/ 131 w 186"/>
                  <a:gd name="T35" fmla="*/ 78 h 185"/>
                  <a:gd name="T36" fmla="*/ 131 w 186"/>
                  <a:gd name="T37" fmla="*/ 75 h 185"/>
                  <a:gd name="T38" fmla="*/ 139 w 186"/>
                  <a:gd name="T39" fmla="*/ 67 h 185"/>
                  <a:gd name="T40" fmla="*/ 129 w 186"/>
                  <a:gd name="T41" fmla="*/ 69 h 185"/>
                  <a:gd name="T42" fmla="*/ 137 w 186"/>
                  <a:gd name="T43" fmla="*/ 60 h 185"/>
                  <a:gd name="T44" fmla="*/ 93 w 186"/>
                  <a:gd name="T45" fmla="*/ 0 h 185"/>
                  <a:gd name="T46" fmla="*/ 0 w 186"/>
                  <a:gd name="T47" fmla="*/ 92 h 185"/>
                  <a:gd name="T48" fmla="*/ 93 w 186"/>
                  <a:gd name="T49" fmla="*/ 185 h 185"/>
                  <a:gd name="T50" fmla="*/ 186 w 186"/>
                  <a:gd name="T51" fmla="*/ 92 h 185"/>
                  <a:gd name="T52" fmla="*/ 93 w 186"/>
                  <a:gd name="T53" fmla="*/ 0 h 185"/>
                  <a:gd name="T54" fmla="*/ 93 w 186"/>
                  <a:gd name="T55" fmla="*/ 177 h 185"/>
                  <a:gd name="T56" fmla="*/ 9 w 186"/>
                  <a:gd name="T57" fmla="*/ 92 h 185"/>
                  <a:gd name="T58" fmla="*/ 93 w 186"/>
                  <a:gd name="T59" fmla="*/ 8 h 185"/>
                  <a:gd name="T60" fmla="*/ 177 w 186"/>
                  <a:gd name="T61" fmla="*/ 92 h 185"/>
                  <a:gd name="T62" fmla="*/ 93 w 186"/>
                  <a:gd name="T63" fmla="*/ 177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86" h="185">
                    <a:moveTo>
                      <a:pt x="137" y="60"/>
                    </a:moveTo>
                    <a:cubicBezTo>
                      <a:pt x="134" y="62"/>
                      <a:pt x="130" y="63"/>
                      <a:pt x="126" y="64"/>
                    </a:cubicBezTo>
                    <a:cubicBezTo>
                      <a:pt x="123" y="61"/>
                      <a:pt x="118" y="59"/>
                      <a:pt x="113" y="59"/>
                    </a:cubicBezTo>
                    <a:cubicBezTo>
                      <a:pt x="104" y="59"/>
                      <a:pt x="96" y="66"/>
                      <a:pt x="96" y="76"/>
                    </a:cubicBezTo>
                    <a:cubicBezTo>
                      <a:pt x="96" y="77"/>
                      <a:pt x="96" y="78"/>
                      <a:pt x="97" y="80"/>
                    </a:cubicBezTo>
                    <a:cubicBezTo>
                      <a:pt x="82" y="79"/>
                      <a:pt x="69" y="72"/>
                      <a:pt x="61" y="62"/>
                    </a:cubicBezTo>
                    <a:cubicBezTo>
                      <a:pt x="59" y="64"/>
                      <a:pt x="59" y="67"/>
                      <a:pt x="59" y="70"/>
                    </a:cubicBezTo>
                    <a:cubicBezTo>
                      <a:pt x="59" y="76"/>
                      <a:pt x="62" y="81"/>
                      <a:pt x="66" y="84"/>
                    </a:cubicBezTo>
                    <a:cubicBezTo>
                      <a:pt x="63" y="84"/>
                      <a:pt x="61" y="84"/>
                      <a:pt x="58" y="82"/>
                    </a:cubicBezTo>
                    <a:cubicBezTo>
                      <a:pt x="58" y="82"/>
                      <a:pt x="58" y="82"/>
                      <a:pt x="58" y="83"/>
                    </a:cubicBezTo>
                    <a:cubicBezTo>
                      <a:pt x="58" y="91"/>
                      <a:pt x="64" y="98"/>
                      <a:pt x="72" y="99"/>
                    </a:cubicBezTo>
                    <a:cubicBezTo>
                      <a:pt x="71" y="100"/>
                      <a:pt x="69" y="100"/>
                      <a:pt x="68" y="100"/>
                    </a:cubicBezTo>
                    <a:cubicBezTo>
                      <a:pt x="67" y="100"/>
                      <a:pt x="66" y="100"/>
                      <a:pt x="64" y="100"/>
                    </a:cubicBezTo>
                    <a:cubicBezTo>
                      <a:pt x="67" y="106"/>
                      <a:pt x="73" y="111"/>
                      <a:pt x="81" y="111"/>
                    </a:cubicBezTo>
                    <a:cubicBezTo>
                      <a:pt x="75" y="116"/>
                      <a:pt x="67" y="119"/>
                      <a:pt x="59" y="119"/>
                    </a:cubicBezTo>
                    <a:cubicBezTo>
                      <a:pt x="58" y="119"/>
                      <a:pt x="56" y="119"/>
                      <a:pt x="55" y="118"/>
                    </a:cubicBezTo>
                    <a:cubicBezTo>
                      <a:pt x="63" y="123"/>
                      <a:pt x="72" y="126"/>
                      <a:pt x="82" y="126"/>
                    </a:cubicBezTo>
                    <a:cubicBezTo>
                      <a:pt x="113" y="126"/>
                      <a:pt x="131" y="100"/>
                      <a:pt x="131" y="78"/>
                    </a:cubicBezTo>
                    <a:cubicBezTo>
                      <a:pt x="131" y="77"/>
                      <a:pt x="131" y="76"/>
                      <a:pt x="131" y="75"/>
                    </a:cubicBezTo>
                    <a:cubicBezTo>
                      <a:pt x="134" y="73"/>
                      <a:pt x="137" y="70"/>
                      <a:pt x="139" y="67"/>
                    </a:cubicBezTo>
                    <a:cubicBezTo>
                      <a:pt x="136" y="68"/>
                      <a:pt x="133" y="69"/>
                      <a:pt x="129" y="69"/>
                    </a:cubicBezTo>
                    <a:cubicBezTo>
                      <a:pt x="133" y="67"/>
                      <a:pt x="136" y="64"/>
                      <a:pt x="137" y="60"/>
                    </a:cubicBezTo>
                    <a:close/>
                    <a:moveTo>
                      <a:pt x="93" y="0"/>
                    </a:moveTo>
                    <a:cubicBezTo>
                      <a:pt x="42" y="0"/>
                      <a:pt x="0" y="41"/>
                      <a:pt x="0" y="92"/>
                    </a:cubicBezTo>
                    <a:cubicBezTo>
                      <a:pt x="0" y="144"/>
                      <a:pt x="42" y="185"/>
                      <a:pt x="93" y="185"/>
                    </a:cubicBezTo>
                    <a:cubicBezTo>
                      <a:pt x="144" y="185"/>
                      <a:pt x="186" y="144"/>
                      <a:pt x="186" y="92"/>
                    </a:cubicBezTo>
                    <a:cubicBezTo>
                      <a:pt x="186" y="41"/>
                      <a:pt x="144" y="0"/>
                      <a:pt x="93" y="0"/>
                    </a:cubicBezTo>
                    <a:close/>
                    <a:moveTo>
                      <a:pt x="93" y="177"/>
                    </a:moveTo>
                    <a:cubicBezTo>
                      <a:pt x="46" y="177"/>
                      <a:pt x="9" y="139"/>
                      <a:pt x="9" y="92"/>
                    </a:cubicBezTo>
                    <a:cubicBezTo>
                      <a:pt x="9" y="46"/>
                      <a:pt x="46" y="8"/>
                      <a:pt x="93" y="8"/>
                    </a:cubicBezTo>
                    <a:cubicBezTo>
                      <a:pt x="140" y="8"/>
                      <a:pt x="177" y="46"/>
                      <a:pt x="177" y="92"/>
                    </a:cubicBezTo>
                    <a:cubicBezTo>
                      <a:pt x="177" y="139"/>
                      <a:pt x="140" y="177"/>
                      <a:pt x="93" y="177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06949808-114A-4B6C-8603-0981BC0F4BAF}"/>
                </a:ext>
              </a:extLst>
            </p:cNvPr>
            <p:cNvGrpSpPr/>
            <p:nvPr userDrawn="1"/>
          </p:nvGrpSpPr>
          <p:grpSpPr>
            <a:xfrm>
              <a:off x="5906814" y="5636225"/>
              <a:ext cx="1378922" cy="279033"/>
              <a:chOff x="5906814" y="5636225"/>
              <a:chExt cx="1378922" cy="279033"/>
            </a:xfrm>
          </p:grpSpPr>
          <p:sp>
            <p:nvSpPr>
              <p:cNvPr id="18" name="Shape 3899">
                <a:extLst>
                  <a:ext uri="{FF2B5EF4-FFF2-40B4-BE49-F238E27FC236}">
                    <a16:creationId xmlns:a16="http://schemas.microsoft.com/office/drawing/2014/main" id="{DDA8D3FD-7361-4C36-9BE3-14D77711C3DD}"/>
                  </a:ext>
                </a:extLst>
              </p:cNvPr>
              <p:cNvSpPr/>
              <p:nvPr userDrawn="1"/>
            </p:nvSpPr>
            <p:spPr>
              <a:xfrm>
                <a:off x="5906814" y="5636225"/>
                <a:ext cx="279033" cy="27903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20618"/>
                    </a:moveTo>
                    <a:cubicBezTo>
                      <a:pt x="5377" y="20618"/>
                      <a:pt x="982" y="16223"/>
                      <a:pt x="982" y="10800"/>
                    </a:cubicBezTo>
                    <a:cubicBezTo>
                      <a:pt x="982" y="5378"/>
                      <a:pt x="5377" y="982"/>
                      <a:pt x="10800" y="982"/>
                    </a:cubicBezTo>
                    <a:cubicBezTo>
                      <a:pt x="16223" y="982"/>
                      <a:pt x="20618" y="5378"/>
                      <a:pt x="20618" y="10800"/>
                    </a:cubicBezTo>
                    <a:cubicBezTo>
                      <a:pt x="20618" y="16223"/>
                      <a:pt x="16223" y="20618"/>
                      <a:pt x="10800" y="20618"/>
                    </a:cubicBezTo>
                    <a:moveTo>
                      <a:pt x="10800" y="0"/>
                    </a:moveTo>
                    <a:cubicBezTo>
                      <a:pt x="4835" y="0"/>
                      <a:pt x="0" y="4835"/>
                      <a:pt x="0" y="10800"/>
                    </a:cubicBezTo>
                    <a:cubicBezTo>
                      <a:pt x="0" y="16765"/>
                      <a:pt x="4835" y="21600"/>
                      <a:pt x="10800" y="21600"/>
                    </a:cubicBezTo>
                    <a:cubicBezTo>
                      <a:pt x="16765" y="21600"/>
                      <a:pt x="21600" y="16765"/>
                      <a:pt x="21600" y="10800"/>
                    </a:cubicBezTo>
                    <a:cubicBezTo>
                      <a:pt x="21600" y="4835"/>
                      <a:pt x="16765" y="0"/>
                      <a:pt x="10800" y="0"/>
                    </a:cubicBezTo>
                    <a:moveTo>
                      <a:pt x="13430" y="9321"/>
                    </a:moveTo>
                    <a:cubicBezTo>
                      <a:pt x="11975" y="9321"/>
                      <a:pt x="11780" y="10196"/>
                      <a:pt x="11780" y="10196"/>
                    </a:cubicBezTo>
                    <a:lnTo>
                      <a:pt x="11782" y="9327"/>
                    </a:lnTo>
                    <a:lnTo>
                      <a:pt x="9818" y="9327"/>
                    </a:lnTo>
                    <a:lnTo>
                      <a:pt x="9818" y="14727"/>
                    </a:lnTo>
                    <a:lnTo>
                      <a:pt x="11782" y="14727"/>
                    </a:lnTo>
                    <a:lnTo>
                      <a:pt x="11782" y="11782"/>
                    </a:lnTo>
                    <a:cubicBezTo>
                      <a:pt x="11782" y="11782"/>
                      <a:pt x="11782" y="10793"/>
                      <a:pt x="12616" y="10793"/>
                    </a:cubicBezTo>
                    <a:cubicBezTo>
                      <a:pt x="13086" y="10793"/>
                      <a:pt x="13255" y="11232"/>
                      <a:pt x="13255" y="11782"/>
                    </a:cubicBezTo>
                    <a:lnTo>
                      <a:pt x="13255" y="14727"/>
                    </a:lnTo>
                    <a:lnTo>
                      <a:pt x="15218" y="14727"/>
                    </a:lnTo>
                    <a:lnTo>
                      <a:pt x="15218" y="11782"/>
                    </a:lnTo>
                    <a:cubicBezTo>
                      <a:pt x="15218" y="10245"/>
                      <a:pt x="14550" y="9321"/>
                      <a:pt x="13430" y="9321"/>
                    </a:cubicBezTo>
                    <a:moveTo>
                      <a:pt x="6873" y="14727"/>
                    </a:moveTo>
                    <a:lnTo>
                      <a:pt x="8829" y="14727"/>
                    </a:lnTo>
                    <a:lnTo>
                      <a:pt x="8829" y="9321"/>
                    </a:lnTo>
                    <a:lnTo>
                      <a:pt x="6873" y="9321"/>
                    </a:lnTo>
                    <a:cubicBezTo>
                      <a:pt x="6873" y="9321"/>
                      <a:pt x="6873" y="14727"/>
                      <a:pt x="6873" y="14727"/>
                    </a:cubicBezTo>
                    <a:close/>
                    <a:moveTo>
                      <a:pt x="7851" y="6873"/>
                    </a:moveTo>
                    <a:cubicBezTo>
                      <a:pt x="7311" y="6873"/>
                      <a:pt x="6873" y="7313"/>
                      <a:pt x="6873" y="7856"/>
                    </a:cubicBezTo>
                    <a:cubicBezTo>
                      <a:pt x="6873" y="8399"/>
                      <a:pt x="7311" y="8839"/>
                      <a:pt x="7851" y="8839"/>
                    </a:cubicBezTo>
                    <a:cubicBezTo>
                      <a:pt x="8391" y="8839"/>
                      <a:pt x="8829" y="8399"/>
                      <a:pt x="8829" y="7856"/>
                    </a:cubicBezTo>
                    <a:cubicBezTo>
                      <a:pt x="8829" y="7313"/>
                      <a:pt x="8391" y="6873"/>
                      <a:pt x="7851" y="6873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endParaRPr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E4201360-DF70-47EF-9FC8-CB1BC2C7368C}"/>
                  </a:ext>
                </a:extLst>
              </p:cNvPr>
              <p:cNvSpPr/>
              <p:nvPr userDrawn="1"/>
            </p:nvSpPr>
            <p:spPr>
              <a:xfrm>
                <a:off x="6192167" y="5660325"/>
                <a:ext cx="1093569" cy="2308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900" dirty="0"/>
                  <a:t>HealthDepartment</a:t>
                </a:r>
              </a:p>
            </p:txBody>
          </p:sp>
        </p:grp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50B6A4DE-6432-4821-B7AC-353A82B2824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0117" y="1503517"/>
            <a:ext cx="4507948" cy="1335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94964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Title - 3010 G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F5C557-5E21-455D-9C20-1C6DB1B3D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r="11111" b="-141"/>
          <a:stretch/>
        </p:blipFill>
        <p:spPr>
          <a:xfrm>
            <a:off x="0" y="-1"/>
            <a:ext cx="12192000" cy="68676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BDF7C4C-4A12-479D-B86B-6494947CA85C}"/>
              </a:ext>
            </a:extLst>
          </p:cNvPr>
          <p:cNvSpPr/>
          <p:nvPr userDrawn="1"/>
        </p:nvSpPr>
        <p:spPr>
          <a:xfrm>
            <a:off x="670603" y="582938"/>
            <a:ext cx="10850796" cy="5692127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75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5B1B364-5059-43D6-AF70-E1B60213278E}"/>
              </a:ext>
            </a:extLst>
          </p:cNvPr>
          <p:cNvSpPr/>
          <p:nvPr userDrawn="1"/>
        </p:nvSpPr>
        <p:spPr>
          <a:xfrm>
            <a:off x="3658731" y="4654351"/>
            <a:ext cx="4874539" cy="998401"/>
          </a:xfrm>
          <a:prstGeom prst="rect">
            <a:avLst/>
          </a:prstGeom>
        </p:spPr>
        <p:txBody>
          <a:bodyPr wrap="square" lIns="91424" tIns="45713" rIns="91424" bIns="45713">
            <a:spAutoFit/>
          </a:bodyPr>
          <a:lstStyle/>
          <a:p>
            <a:pPr algn="ctr"/>
            <a:endParaRPr lang="en-US" sz="1200" dirty="0"/>
          </a:p>
          <a:p>
            <a:pPr algn="ctr"/>
            <a:r>
              <a:rPr lang="en-US" sz="1200" dirty="0"/>
              <a:t>3010 Grand Avenue, Waukegan, Illinois 60085</a:t>
            </a:r>
            <a:br>
              <a:rPr lang="en-US" sz="1200" dirty="0"/>
            </a:br>
            <a:r>
              <a:rPr lang="en-US" sz="1200" dirty="0"/>
              <a:t>(847) 377-8000</a:t>
            </a:r>
          </a:p>
          <a:p>
            <a:pPr algn="ctr" defTabSz="685663"/>
            <a:r>
              <a:rPr lang="en-US" sz="1200" dirty="0"/>
              <a:t>health.lakecountyil.gov</a:t>
            </a:r>
          </a:p>
          <a:p>
            <a:pPr algn="ctr" defTabSz="685663"/>
            <a:endParaRPr lang="en-US" sz="1088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C763EDB-07A1-47B2-AF9C-81568B459EAC}"/>
              </a:ext>
            </a:extLst>
          </p:cNvPr>
          <p:cNvCxnSpPr/>
          <p:nvPr userDrawn="1"/>
        </p:nvCxnSpPr>
        <p:spPr>
          <a:xfrm>
            <a:off x="3228110" y="4704077"/>
            <a:ext cx="5735781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 descr="https://www.jointcommission.org/assets/1/6/GoldSeal_4color.jpg">
            <a:extLst>
              <a:ext uri="{FF2B5EF4-FFF2-40B4-BE49-F238E27FC236}">
                <a16:creationId xmlns:a16="http://schemas.microsoft.com/office/drawing/2014/main" id="{0BE8AD7D-3420-4FB8-BDFA-41699CF1FA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01662" y="3075919"/>
            <a:ext cx="1788677" cy="1341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9BD1A0ED-D886-427C-B685-AFE9ADDF2496}"/>
              </a:ext>
            </a:extLst>
          </p:cNvPr>
          <p:cNvGrpSpPr/>
          <p:nvPr userDrawn="1"/>
        </p:nvGrpSpPr>
        <p:grpSpPr>
          <a:xfrm>
            <a:off x="2746082" y="5591775"/>
            <a:ext cx="6699839" cy="282626"/>
            <a:chOff x="2260857" y="5636225"/>
            <a:chExt cx="5024879" cy="282626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0BEE658-5FC2-41C1-AE02-6DFEAE7ED21B}"/>
                </a:ext>
              </a:extLst>
            </p:cNvPr>
            <p:cNvGrpSpPr/>
            <p:nvPr userDrawn="1"/>
          </p:nvGrpSpPr>
          <p:grpSpPr>
            <a:xfrm>
              <a:off x="2260857" y="5636225"/>
              <a:ext cx="1350547" cy="282626"/>
              <a:chOff x="2260857" y="5636225"/>
              <a:chExt cx="1350547" cy="282626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EA3BC408-ACA6-4ADA-AA57-B5B4023B2F40}"/>
                  </a:ext>
                </a:extLst>
              </p:cNvPr>
              <p:cNvSpPr/>
              <p:nvPr userDrawn="1"/>
            </p:nvSpPr>
            <p:spPr>
              <a:xfrm>
                <a:off x="2543483" y="5673664"/>
                <a:ext cx="1067921" cy="2308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900" dirty="0"/>
                  <a:t>HealthDepartment</a:t>
                </a:r>
              </a:p>
            </p:txBody>
          </p:sp>
          <p:sp>
            <p:nvSpPr>
              <p:cNvPr id="12" name="Freeform 312">
                <a:extLst>
                  <a:ext uri="{FF2B5EF4-FFF2-40B4-BE49-F238E27FC236}">
                    <a16:creationId xmlns:a16="http://schemas.microsoft.com/office/drawing/2014/main" id="{F3852112-C658-41A1-8D16-D75C465A1F9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60857" y="5636225"/>
                <a:ext cx="282626" cy="282626"/>
              </a:xfrm>
              <a:custGeom>
                <a:avLst/>
                <a:gdLst>
                  <a:gd name="T0" fmla="*/ 101 w 185"/>
                  <a:gd name="T1" fmla="*/ 72 h 185"/>
                  <a:gd name="T2" fmla="*/ 106 w 185"/>
                  <a:gd name="T3" fmla="*/ 67 h 185"/>
                  <a:gd name="T4" fmla="*/ 113 w 185"/>
                  <a:gd name="T5" fmla="*/ 67 h 185"/>
                  <a:gd name="T6" fmla="*/ 113 w 185"/>
                  <a:gd name="T7" fmla="*/ 54 h 185"/>
                  <a:gd name="T8" fmla="*/ 102 w 185"/>
                  <a:gd name="T9" fmla="*/ 54 h 185"/>
                  <a:gd name="T10" fmla="*/ 84 w 185"/>
                  <a:gd name="T11" fmla="*/ 71 h 185"/>
                  <a:gd name="T12" fmla="*/ 84 w 185"/>
                  <a:gd name="T13" fmla="*/ 80 h 185"/>
                  <a:gd name="T14" fmla="*/ 75 w 185"/>
                  <a:gd name="T15" fmla="*/ 80 h 185"/>
                  <a:gd name="T16" fmla="*/ 75 w 185"/>
                  <a:gd name="T17" fmla="*/ 92 h 185"/>
                  <a:gd name="T18" fmla="*/ 84 w 185"/>
                  <a:gd name="T19" fmla="*/ 92 h 185"/>
                  <a:gd name="T20" fmla="*/ 84 w 185"/>
                  <a:gd name="T21" fmla="*/ 130 h 185"/>
                  <a:gd name="T22" fmla="*/ 101 w 185"/>
                  <a:gd name="T23" fmla="*/ 130 h 185"/>
                  <a:gd name="T24" fmla="*/ 101 w 185"/>
                  <a:gd name="T25" fmla="*/ 92 h 185"/>
                  <a:gd name="T26" fmla="*/ 112 w 185"/>
                  <a:gd name="T27" fmla="*/ 92 h 185"/>
                  <a:gd name="T28" fmla="*/ 113 w 185"/>
                  <a:gd name="T29" fmla="*/ 80 h 185"/>
                  <a:gd name="T30" fmla="*/ 101 w 185"/>
                  <a:gd name="T31" fmla="*/ 80 h 185"/>
                  <a:gd name="T32" fmla="*/ 101 w 185"/>
                  <a:gd name="T33" fmla="*/ 72 h 185"/>
                  <a:gd name="T34" fmla="*/ 92 w 185"/>
                  <a:gd name="T35" fmla="*/ 0 h 185"/>
                  <a:gd name="T36" fmla="*/ 0 w 185"/>
                  <a:gd name="T37" fmla="*/ 92 h 185"/>
                  <a:gd name="T38" fmla="*/ 92 w 185"/>
                  <a:gd name="T39" fmla="*/ 185 h 185"/>
                  <a:gd name="T40" fmla="*/ 185 w 185"/>
                  <a:gd name="T41" fmla="*/ 92 h 185"/>
                  <a:gd name="T42" fmla="*/ 92 w 185"/>
                  <a:gd name="T43" fmla="*/ 0 h 185"/>
                  <a:gd name="T44" fmla="*/ 92 w 185"/>
                  <a:gd name="T45" fmla="*/ 177 h 185"/>
                  <a:gd name="T46" fmla="*/ 8 w 185"/>
                  <a:gd name="T47" fmla="*/ 92 h 185"/>
                  <a:gd name="T48" fmla="*/ 92 w 185"/>
                  <a:gd name="T49" fmla="*/ 8 h 185"/>
                  <a:gd name="T50" fmla="*/ 177 w 185"/>
                  <a:gd name="T51" fmla="*/ 92 h 185"/>
                  <a:gd name="T52" fmla="*/ 92 w 185"/>
                  <a:gd name="T53" fmla="*/ 177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5" h="185">
                    <a:moveTo>
                      <a:pt x="101" y="72"/>
                    </a:moveTo>
                    <a:cubicBezTo>
                      <a:pt x="101" y="69"/>
                      <a:pt x="101" y="67"/>
                      <a:pt x="106" y="67"/>
                    </a:cubicBezTo>
                    <a:cubicBezTo>
                      <a:pt x="113" y="67"/>
                      <a:pt x="113" y="67"/>
                      <a:pt x="113" y="67"/>
                    </a:cubicBezTo>
                    <a:cubicBezTo>
                      <a:pt x="113" y="54"/>
                      <a:pt x="113" y="54"/>
                      <a:pt x="113" y="54"/>
                    </a:cubicBezTo>
                    <a:cubicBezTo>
                      <a:pt x="102" y="54"/>
                      <a:pt x="102" y="54"/>
                      <a:pt x="102" y="54"/>
                    </a:cubicBezTo>
                    <a:cubicBezTo>
                      <a:pt x="89" y="54"/>
                      <a:pt x="84" y="61"/>
                      <a:pt x="84" y="71"/>
                    </a:cubicBezTo>
                    <a:cubicBezTo>
                      <a:pt x="84" y="80"/>
                      <a:pt x="84" y="80"/>
                      <a:pt x="84" y="80"/>
                    </a:cubicBezTo>
                    <a:cubicBezTo>
                      <a:pt x="75" y="80"/>
                      <a:pt x="75" y="80"/>
                      <a:pt x="75" y="80"/>
                    </a:cubicBezTo>
                    <a:cubicBezTo>
                      <a:pt x="75" y="92"/>
                      <a:pt x="75" y="92"/>
                      <a:pt x="75" y="92"/>
                    </a:cubicBezTo>
                    <a:cubicBezTo>
                      <a:pt x="84" y="92"/>
                      <a:pt x="84" y="92"/>
                      <a:pt x="84" y="92"/>
                    </a:cubicBezTo>
                    <a:cubicBezTo>
                      <a:pt x="84" y="130"/>
                      <a:pt x="84" y="130"/>
                      <a:pt x="84" y="130"/>
                    </a:cubicBezTo>
                    <a:cubicBezTo>
                      <a:pt x="101" y="130"/>
                      <a:pt x="101" y="130"/>
                      <a:pt x="101" y="130"/>
                    </a:cubicBezTo>
                    <a:cubicBezTo>
                      <a:pt x="101" y="92"/>
                      <a:pt x="101" y="92"/>
                      <a:pt x="101" y="92"/>
                    </a:cubicBezTo>
                    <a:cubicBezTo>
                      <a:pt x="112" y="92"/>
                      <a:pt x="112" y="92"/>
                      <a:pt x="112" y="92"/>
                    </a:cubicBezTo>
                    <a:cubicBezTo>
                      <a:pt x="113" y="80"/>
                      <a:pt x="113" y="80"/>
                      <a:pt x="113" y="80"/>
                    </a:cubicBezTo>
                    <a:cubicBezTo>
                      <a:pt x="101" y="80"/>
                      <a:pt x="101" y="80"/>
                      <a:pt x="101" y="80"/>
                    </a:cubicBezTo>
                    <a:lnTo>
                      <a:pt x="101" y="72"/>
                    </a:lnTo>
                    <a:close/>
                    <a:moveTo>
                      <a:pt x="92" y="0"/>
                    </a:moveTo>
                    <a:cubicBezTo>
                      <a:pt x="41" y="0"/>
                      <a:pt x="0" y="41"/>
                      <a:pt x="0" y="92"/>
                    </a:cubicBezTo>
                    <a:cubicBezTo>
                      <a:pt x="0" y="144"/>
                      <a:pt x="41" y="185"/>
                      <a:pt x="92" y="185"/>
                    </a:cubicBezTo>
                    <a:cubicBezTo>
                      <a:pt x="144" y="185"/>
                      <a:pt x="185" y="144"/>
                      <a:pt x="185" y="92"/>
                    </a:cubicBezTo>
                    <a:cubicBezTo>
                      <a:pt x="185" y="41"/>
                      <a:pt x="144" y="0"/>
                      <a:pt x="92" y="0"/>
                    </a:cubicBezTo>
                    <a:close/>
                    <a:moveTo>
                      <a:pt x="92" y="177"/>
                    </a:moveTo>
                    <a:cubicBezTo>
                      <a:pt x="46" y="177"/>
                      <a:pt x="8" y="139"/>
                      <a:pt x="8" y="92"/>
                    </a:cubicBezTo>
                    <a:cubicBezTo>
                      <a:pt x="8" y="46"/>
                      <a:pt x="46" y="8"/>
                      <a:pt x="92" y="8"/>
                    </a:cubicBezTo>
                    <a:cubicBezTo>
                      <a:pt x="139" y="8"/>
                      <a:pt x="177" y="46"/>
                      <a:pt x="177" y="92"/>
                    </a:cubicBezTo>
                    <a:cubicBezTo>
                      <a:pt x="177" y="139"/>
                      <a:pt x="139" y="177"/>
                      <a:pt x="92" y="177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E6AE92A-4D0C-4B31-A7E4-8125CE14952F}"/>
                </a:ext>
              </a:extLst>
            </p:cNvPr>
            <p:cNvGrpSpPr/>
            <p:nvPr userDrawn="1"/>
          </p:nvGrpSpPr>
          <p:grpSpPr>
            <a:xfrm>
              <a:off x="4178273" y="5636225"/>
              <a:ext cx="1309946" cy="282626"/>
              <a:chOff x="4178273" y="5636225"/>
              <a:chExt cx="1309946" cy="282626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BCCACEB8-EBF4-4AE9-8BE2-91E44B86D881}"/>
                  </a:ext>
                </a:extLst>
              </p:cNvPr>
              <p:cNvSpPr/>
              <p:nvPr userDrawn="1"/>
            </p:nvSpPr>
            <p:spPr>
              <a:xfrm>
                <a:off x="4457168" y="5672001"/>
                <a:ext cx="1031051" cy="2308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900" dirty="0"/>
                  <a:t>@LakeCoHealth</a:t>
                </a:r>
              </a:p>
            </p:txBody>
          </p:sp>
          <p:sp>
            <p:nvSpPr>
              <p:cNvPr id="13" name="Freeform 311">
                <a:extLst>
                  <a:ext uri="{FF2B5EF4-FFF2-40B4-BE49-F238E27FC236}">
                    <a16:creationId xmlns:a16="http://schemas.microsoft.com/office/drawing/2014/main" id="{322EBEA5-0BC9-4FFF-82FB-4ECA2741C85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4178273" y="5636225"/>
                <a:ext cx="283464" cy="282626"/>
              </a:xfrm>
              <a:custGeom>
                <a:avLst/>
                <a:gdLst>
                  <a:gd name="T0" fmla="*/ 137 w 186"/>
                  <a:gd name="T1" fmla="*/ 60 h 185"/>
                  <a:gd name="T2" fmla="*/ 126 w 186"/>
                  <a:gd name="T3" fmla="*/ 64 h 185"/>
                  <a:gd name="T4" fmla="*/ 113 w 186"/>
                  <a:gd name="T5" fmla="*/ 59 h 185"/>
                  <a:gd name="T6" fmla="*/ 96 w 186"/>
                  <a:gd name="T7" fmla="*/ 76 h 185"/>
                  <a:gd name="T8" fmla="*/ 97 w 186"/>
                  <a:gd name="T9" fmla="*/ 80 h 185"/>
                  <a:gd name="T10" fmla="*/ 61 w 186"/>
                  <a:gd name="T11" fmla="*/ 62 h 185"/>
                  <a:gd name="T12" fmla="*/ 59 w 186"/>
                  <a:gd name="T13" fmla="*/ 70 h 185"/>
                  <a:gd name="T14" fmla="*/ 66 w 186"/>
                  <a:gd name="T15" fmla="*/ 84 h 185"/>
                  <a:gd name="T16" fmla="*/ 58 w 186"/>
                  <a:gd name="T17" fmla="*/ 82 h 185"/>
                  <a:gd name="T18" fmla="*/ 58 w 186"/>
                  <a:gd name="T19" fmla="*/ 83 h 185"/>
                  <a:gd name="T20" fmla="*/ 72 w 186"/>
                  <a:gd name="T21" fmla="*/ 99 h 185"/>
                  <a:gd name="T22" fmla="*/ 68 w 186"/>
                  <a:gd name="T23" fmla="*/ 100 h 185"/>
                  <a:gd name="T24" fmla="*/ 64 w 186"/>
                  <a:gd name="T25" fmla="*/ 100 h 185"/>
                  <a:gd name="T26" fmla="*/ 81 w 186"/>
                  <a:gd name="T27" fmla="*/ 111 h 185"/>
                  <a:gd name="T28" fmla="*/ 59 w 186"/>
                  <a:gd name="T29" fmla="*/ 119 h 185"/>
                  <a:gd name="T30" fmla="*/ 55 w 186"/>
                  <a:gd name="T31" fmla="*/ 118 h 185"/>
                  <a:gd name="T32" fmla="*/ 82 w 186"/>
                  <a:gd name="T33" fmla="*/ 126 h 185"/>
                  <a:gd name="T34" fmla="*/ 131 w 186"/>
                  <a:gd name="T35" fmla="*/ 78 h 185"/>
                  <a:gd name="T36" fmla="*/ 131 w 186"/>
                  <a:gd name="T37" fmla="*/ 75 h 185"/>
                  <a:gd name="T38" fmla="*/ 139 w 186"/>
                  <a:gd name="T39" fmla="*/ 67 h 185"/>
                  <a:gd name="T40" fmla="*/ 129 w 186"/>
                  <a:gd name="T41" fmla="*/ 69 h 185"/>
                  <a:gd name="T42" fmla="*/ 137 w 186"/>
                  <a:gd name="T43" fmla="*/ 60 h 185"/>
                  <a:gd name="T44" fmla="*/ 93 w 186"/>
                  <a:gd name="T45" fmla="*/ 0 h 185"/>
                  <a:gd name="T46" fmla="*/ 0 w 186"/>
                  <a:gd name="T47" fmla="*/ 92 h 185"/>
                  <a:gd name="T48" fmla="*/ 93 w 186"/>
                  <a:gd name="T49" fmla="*/ 185 h 185"/>
                  <a:gd name="T50" fmla="*/ 186 w 186"/>
                  <a:gd name="T51" fmla="*/ 92 h 185"/>
                  <a:gd name="T52" fmla="*/ 93 w 186"/>
                  <a:gd name="T53" fmla="*/ 0 h 185"/>
                  <a:gd name="T54" fmla="*/ 93 w 186"/>
                  <a:gd name="T55" fmla="*/ 177 h 185"/>
                  <a:gd name="T56" fmla="*/ 9 w 186"/>
                  <a:gd name="T57" fmla="*/ 92 h 185"/>
                  <a:gd name="T58" fmla="*/ 93 w 186"/>
                  <a:gd name="T59" fmla="*/ 8 h 185"/>
                  <a:gd name="T60" fmla="*/ 177 w 186"/>
                  <a:gd name="T61" fmla="*/ 92 h 185"/>
                  <a:gd name="T62" fmla="*/ 93 w 186"/>
                  <a:gd name="T63" fmla="*/ 177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86" h="185">
                    <a:moveTo>
                      <a:pt x="137" y="60"/>
                    </a:moveTo>
                    <a:cubicBezTo>
                      <a:pt x="134" y="62"/>
                      <a:pt x="130" y="63"/>
                      <a:pt x="126" y="64"/>
                    </a:cubicBezTo>
                    <a:cubicBezTo>
                      <a:pt x="123" y="61"/>
                      <a:pt x="118" y="59"/>
                      <a:pt x="113" y="59"/>
                    </a:cubicBezTo>
                    <a:cubicBezTo>
                      <a:pt x="104" y="59"/>
                      <a:pt x="96" y="66"/>
                      <a:pt x="96" y="76"/>
                    </a:cubicBezTo>
                    <a:cubicBezTo>
                      <a:pt x="96" y="77"/>
                      <a:pt x="96" y="78"/>
                      <a:pt x="97" y="80"/>
                    </a:cubicBezTo>
                    <a:cubicBezTo>
                      <a:pt x="82" y="79"/>
                      <a:pt x="69" y="72"/>
                      <a:pt x="61" y="62"/>
                    </a:cubicBezTo>
                    <a:cubicBezTo>
                      <a:pt x="59" y="64"/>
                      <a:pt x="59" y="67"/>
                      <a:pt x="59" y="70"/>
                    </a:cubicBezTo>
                    <a:cubicBezTo>
                      <a:pt x="59" y="76"/>
                      <a:pt x="62" y="81"/>
                      <a:pt x="66" y="84"/>
                    </a:cubicBezTo>
                    <a:cubicBezTo>
                      <a:pt x="63" y="84"/>
                      <a:pt x="61" y="84"/>
                      <a:pt x="58" y="82"/>
                    </a:cubicBezTo>
                    <a:cubicBezTo>
                      <a:pt x="58" y="82"/>
                      <a:pt x="58" y="82"/>
                      <a:pt x="58" y="83"/>
                    </a:cubicBezTo>
                    <a:cubicBezTo>
                      <a:pt x="58" y="91"/>
                      <a:pt x="64" y="98"/>
                      <a:pt x="72" y="99"/>
                    </a:cubicBezTo>
                    <a:cubicBezTo>
                      <a:pt x="71" y="100"/>
                      <a:pt x="69" y="100"/>
                      <a:pt x="68" y="100"/>
                    </a:cubicBezTo>
                    <a:cubicBezTo>
                      <a:pt x="67" y="100"/>
                      <a:pt x="66" y="100"/>
                      <a:pt x="64" y="100"/>
                    </a:cubicBezTo>
                    <a:cubicBezTo>
                      <a:pt x="67" y="106"/>
                      <a:pt x="73" y="111"/>
                      <a:pt x="81" y="111"/>
                    </a:cubicBezTo>
                    <a:cubicBezTo>
                      <a:pt x="75" y="116"/>
                      <a:pt x="67" y="119"/>
                      <a:pt x="59" y="119"/>
                    </a:cubicBezTo>
                    <a:cubicBezTo>
                      <a:pt x="58" y="119"/>
                      <a:pt x="56" y="119"/>
                      <a:pt x="55" y="118"/>
                    </a:cubicBezTo>
                    <a:cubicBezTo>
                      <a:pt x="63" y="123"/>
                      <a:pt x="72" y="126"/>
                      <a:pt x="82" y="126"/>
                    </a:cubicBezTo>
                    <a:cubicBezTo>
                      <a:pt x="113" y="126"/>
                      <a:pt x="131" y="100"/>
                      <a:pt x="131" y="78"/>
                    </a:cubicBezTo>
                    <a:cubicBezTo>
                      <a:pt x="131" y="77"/>
                      <a:pt x="131" y="76"/>
                      <a:pt x="131" y="75"/>
                    </a:cubicBezTo>
                    <a:cubicBezTo>
                      <a:pt x="134" y="73"/>
                      <a:pt x="137" y="70"/>
                      <a:pt x="139" y="67"/>
                    </a:cubicBezTo>
                    <a:cubicBezTo>
                      <a:pt x="136" y="68"/>
                      <a:pt x="133" y="69"/>
                      <a:pt x="129" y="69"/>
                    </a:cubicBezTo>
                    <a:cubicBezTo>
                      <a:pt x="133" y="67"/>
                      <a:pt x="136" y="64"/>
                      <a:pt x="137" y="60"/>
                    </a:cubicBezTo>
                    <a:close/>
                    <a:moveTo>
                      <a:pt x="93" y="0"/>
                    </a:moveTo>
                    <a:cubicBezTo>
                      <a:pt x="42" y="0"/>
                      <a:pt x="0" y="41"/>
                      <a:pt x="0" y="92"/>
                    </a:cubicBezTo>
                    <a:cubicBezTo>
                      <a:pt x="0" y="144"/>
                      <a:pt x="42" y="185"/>
                      <a:pt x="93" y="185"/>
                    </a:cubicBezTo>
                    <a:cubicBezTo>
                      <a:pt x="144" y="185"/>
                      <a:pt x="186" y="144"/>
                      <a:pt x="186" y="92"/>
                    </a:cubicBezTo>
                    <a:cubicBezTo>
                      <a:pt x="186" y="41"/>
                      <a:pt x="144" y="0"/>
                      <a:pt x="93" y="0"/>
                    </a:cubicBezTo>
                    <a:close/>
                    <a:moveTo>
                      <a:pt x="93" y="177"/>
                    </a:moveTo>
                    <a:cubicBezTo>
                      <a:pt x="46" y="177"/>
                      <a:pt x="9" y="139"/>
                      <a:pt x="9" y="92"/>
                    </a:cubicBezTo>
                    <a:cubicBezTo>
                      <a:pt x="9" y="46"/>
                      <a:pt x="46" y="8"/>
                      <a:pt x="93" y="8"/>
                    </a:cubicBezTo>
                    <a:cubicBezTo>
                      <a:pt x="140" y="8"/>
                      <a:pt x="177" y="46"/>
                      <a:pt x="177" y="92"/>
                    </a:cubicBezTo>
                    <a:cubicBezTo>
                      <a:pt x="177" y="139"/>
                      <a:pt x="140" y="177"/>
                      <a:pt x="93" y="177"/>
                    </a:cubicBez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06949808-114A-4B6C-8603-0981BC0F4BAF}"/>
                </a:ext>
              </a:extLst>
            </p:cNvPr>
            <p:cNvGrpSpPr/>
            <p:nvPr userDrawn="1"/>
          </p:nvGrpSpPr>
          <p:grpSpPr>
            <a:xfrm>
              <a:off x="5906814" y="5636225"/>
              <a:ext cx="1378922" cy="279033"/>
              <a:chOff x="5906814" y="5636225"/>
              <a:chExt cx="1378922" cy="279033"/>
            </a:xfrm>
          </p:grpSpPr>
          <p:sp>
            <p:nvSpPr>
              <p:cNvPr id="18" name="Shape 3899">
                <a:extLst>
                  <a:ext uri="{FF2B5EF4-FFF2-40B4-BE49-F238E27FC236}">
                    <a16:creationId xmlns:a16="http://schemas.microsoft.com/office/drawing/2014/main" id="{DDA8D3FD-7361-4C36-9BE3-14D77711C3DD}"/>
                  </a:ext>
                </a:extLst>
              </p:cNvPr>
              <p:cNvSpPr/>
              <p:nvPr userDrawn="1"/>
            </p:nvSpPr>
            <p:spPr>
              <a:xfrm>
                <a:off x="5906814" y="5636225"/>
                <a:ext cx="279033" cy="27903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20618"/>
                    </a:moveTo>
                    <a:cubicBezTo>
                      <a:pt x="5377" y="20618"/>
                      <a:pt x="982" y="16223"/>
                      <a:pt x="982" y="10800"/>
                    </a:cubicBezTo>
                    <a:cubicBezTo>
                      <a:pt x="982" y="5378"/>
                      <a:pt x="5377" y="982"/>
                      <a:pt x="10800" y="982"/>
                    </a:cubicBezTo>
                    <a:cubicBezTo>
                      <a:pt x="16223" y="982"/>
                      <a:pt x="20618" y="5378"/>
                      <a:pt x="20618" y="10800"/>
                    </a:cubicBezTo>
                    <a:cubicBezTo>
                      <a:pt x="20618" y="16223"/>
                      <a:pt x="16223" y="20618"/>
                      <a:pt x="10800" y="20618"/>
                    </a:cubicBezTo>
                    <a:moveTo>
                      <a:pt x="10800" y="0"/>
                    </a:moveTo>
                    <a:cubicBezTo>
                      <a:pt x="4835" y="0"/>
                      <a:pt x="0" y="4835"/>
                      <a:pt x="0" y="10800"/>
                    </a:cubicBezTo>
                    <a:cubicBezTo>
                      <a:pt x="0" y="16765"/>
                      <a:pt x="4835" y="21600"/>
                      <a:pt x="10800" y="21600"/>
                    </a:cubicBezTo>
                    <a:cubicBezTo>
                      <a:pt x="16765" y="21600"/>
                      <a:pt x="21600" y="16765"/>
                      <a:pt x="21600" y="10800"/>
                    </a:cubicBezTo>
                    <a:cubicBezTo>
                      <a:pt x="21600" y="4835"/>
                      <a:pt x="16765" y="0"/>
                      <a:pt x="10800" y="0"/>
                    </a:cubicBezTo>
                    <a:moveTo>
                      <a:pt x="13430" y="9321"/>
                    </a:moveTo>
                    <a:cubicBezTo>
                      <a:pt x="11975" y="9321"/>
                      <a:pt x="11780" y="10196"/>
                      <a:pt x="11780" y="10196"/>
                    </a:cubicBezTo>
                    <a:lnTo>
                      <a:pt x="11782" y="9327"/>
                    </a:lnTo>
                    <a:lnTo>
                      <a:pt x="9818" y="9327"/>
                    </a:lnTo>
                    <a:lnTo>
                      <a:pt x="9818" y="14727"/>
                    </a:lnTo>
                    <a:lnTo>
                      <a:pt x="11782" y="14727"/>
                    </a:lnTo>
                    <a:lnTo>
                      <a:pt x="11782" y="11782"/>
                    </a:lnTo>
                    <a:cubicBezTo>
                      <a:pt x="11782" y="11782"/>
                      <a:pt x="11782" y="10793"/>
                      <a:pt x="12616" y="10793"/>
                    </a:cubicBezTo>
                    <a:cubicBezTo>
                      <a:pt x="13086" y="10793"/>
                      <a:pt x="13255" y="11232"/>
                      <a:pt x="13255" y="11782"/>
                    </a:cubicBezTo>
                    <a:lnTo>
                      <a:pt x="13255" y="14727"/>
                    </a:lnTo>
                    <a:lnTo>
                      <a:pt x="15218" y="14727"/>
                    </a:lnTo>
                    <a:lnTo>
                      <a:pt x="15218" y="11782"/>
                    </a:lnTo>
                    <a:cubicBezTo>
                      <a:pt x="15218" y="10245"/>
                      <a:pt x="14550" y="9321"/>
                      <a:pt x="13430" y="9321"/>
                    </a:cubicBezTo>
                    <a:moveTo>
                      <a:pt x="6873" y="14727"/>
                    </a:moveTo>
                    <a:lnTo>
                      <a:pt x="8829" y="14727"/>
                    </a:lnTo>
                    <a:lnTo>
                      <a:pt x="8829" y="9321"/>
                    </a:lnTo>
                    <a:lnTo>
                      <a:pt x="6873" y="9321"/>
                    </a:lnTo>
                    <a:cubicBezTo>
                      <a:pt x="6873" y="9321"/>
                      <a:pt x="6873" y="14727"/>
                      <a:pt x="6873" y="14727"/>
                    </a:cubicBezTo>
                    <a:close/>
                    <a:moveTo>
                      <a:pt x="7851" y="6873"/>
                    </a:moveTo>
                    <a:cubicBezTo>
                      <a:pt x="7311" y="6873"/>
                      <a:pt x="6873" y="7313"/>
                      <a:pt x="6873" y="7856"/>
                    </a:cubicBezTo>
                    <a:cubicBezTo>
                      <a:pt x="6873" y="8399"/>
                      <a:pt x="7311" y="8839"/>
                      <a:pt x="7851" y="8839"/>
                    </a:cubicBezTo>
                    <a:cubicBezTo>
                      <a:pt x="8391" y="8839"/>
                      <a:pt x="8829" y="8399"/>
                      <a:pt x="8829" y="7856"/>
                    </a:cubicBezTo>
                    <a:cubicBezTo>
                      <a:pt x="8829" y="7313"/>
                      <a:pt x="8391" y="6873"/>
                      <a:pt x="7851" y="6873"/>
                    </a:cubicBezTo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12700">
                <a:miter lim="400000"/>
              </a:ln>
            </p:spPr>
            <p:txBody>
              <a:bodyPr lIns="38100" tIns="38100" rIns="38100" bIns="38100" anchor="ctr"/>
              <a:lstStyle/>
              <a:p>
                <a:endParaRPr sz="18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E4201360-DF70-47EF-9FC8-CB1BC2C7368C}"/>
                  </a:ext>
                </a:extLst>
              </p:cNvPr>
              <p:cNvSpPr/>
              <p:nvPr userDrawn="1"/>
            </p:nvSpPr>
            <p:spPr>
              <a:xfrm>
                <a:off x="6192167" y="5660325"/>
                <a:ext cx="1093569" cy="2308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900" dirty="0"/>
                  <a:t>HealthDepartment</a:t>
                </a:r>
              </a:p>
            </p:txBody>
          </p:sp>
        </p:grp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50B6A4DE-6432-4821-B7AC-353A82B2824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0117" y="1503517"/>
            <a:ext cx="4507948" cy="1335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94964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81234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D3A-7AE9-B74E-9AE1-4713369F9E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B185370-36DE-9148-B090-F6F58CCC90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972EE1-9609-9348-BF53-1CBA64F700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729CE-227F-9C45-89B7-9F13080F9FB0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0D7B2B-81D7-6348-9D15-455088439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C331EB-5C2C-234C-AE35-A4E8B865B8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F8536-5419-8648-98A1-6292D5CD68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193248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85771F-606E-C24B-A56A-D1A0A73707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E7BBF5-B4BC-1E4A-B036-29C70A608B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53CB46-0446-DB4E-98FB-10EF595899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729CE-227F-9C45-89B7-9F13080F9FB0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24AE71-0A54-D646-A458-73EEAB05FC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ADE2B0-9B46-9646-8F54-CC081E3B5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F8536-5419-8648-98A1-6292D5CD68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51179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06D7A-EF36-844F-A7E2-8D5E8B9FE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4319E3-0861-5E48-BF07-975C4EC0E8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71A8F3-6418-A84F-97EE-28DB5E3894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729CE-227F-9C45-89B7-9F13080F9FB0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2E0971-1D01-344A-BE20-01AEE28C04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19F191-5922-7B47-A181-4A5DAA620C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F8536-5419-8648-98A1-6292D5CD68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0695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875FCA-C45D-9B4F-8C9E-613455940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4C4A36-0393-7A43-8C0E-4F7169F300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899E1B3-6510-714B-ACD7-21F9195549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4D0393-7E41-534B-8A7E-AC8AEE23A8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729CE-227F-9C45-89B7-9F13080F9FB0}" type="datetimeFigureOut">
              <a:rPr lang="en-US" smtClean="0"/>
              <a:t>5/2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D725F9-72E0-4E45-9DE4-CFF8705CF3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D7C630-DCFD-E242-A4BF-CE3B60B89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F8536-5419-8648-98A1-6292D5CD68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900544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CB2186-D766-1548-A080-D664BE81F0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9A23F2-64A5-6A4A-B4E0-39FC843F86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54F791-D2CB-8E4C-9AE5-1269FF2974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25A913-A9F2-214A-925E-941B77D7D49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C4C9EB7-D646-214C-B296-61606955DAE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960FDCF-F83C-9E43-BB54-65D9DF7F2A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729CE-227F-9C45-89B7-9F13080F9FB0}" type="datetimeFigureOut">
              <a:rPr lang="en-US" smtClean="0"/>
              <a:t>5/29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E2FA0C-66F0-F242-8DE1-BADD78D117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132D331-928A-E143-A678-581D63DB5D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F8536-5419-8648-98A1-6292D5CD68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76004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755974-9885-7542-BE6D-D72CF5D25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CA03D5-BE41-A24E-8F2D-465FD8C208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729CE-227F-9C45-89B7-9F13080F9FB0}" type="datetimeFigureOut">
              <a:rPr lang="en-US" smtClean="0"/>
              <a:t>5/29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1F4C0E-29D7-9148-A55B-F643E13D47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FA7008-1B6F-1549-A236-E880107300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F8536-5419-8648-98A1-6292D5CD68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1962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2F37CF-FFE0-F64C-A719-F4C67BAA05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729CE-227F-9C45-89B7-9F13080F9FB0}" type="datetimeFigureOut">
              <a:rPr lang="en-US" smtClean="0"/>
              <a:t>5/29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026832-BCAF-404D-933A-9BA843A708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0152AC-FEF3-3B44-9744-45207AE593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F8536-5419-8648-98A1-6292D5CD68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02765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95AE13-626E-6F47-9596-2FB1C70CB7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2A75E0-76A6-DB40-82AA-903DF8B631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049D13-B9AF-074C-8D44-E0FD8E2445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7375C3-1145-3A43-A8A0-3F973A1BA7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729CE-227F-9C45-89B7-9F13080F9FB0}" type="datetimeFigureOut">
              <a:rPr lang="en-US" smtClean="0"/>
              <a:t>5/2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B1A9043-86CE-CD42-A8A4-AE552DBE44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E31877-9AF5-4B4F-972E-3C46D6192E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F8536-5419-8648-98A1-6292D5CD68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914891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B3F1E3-1A09-2E48-845D-19B9594B0C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A05136-D080-F448-A015-BFFFF3F3EF9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8443B8-77A5-DE4F-9EF9-B9AD17F8E9C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BA57FC-6089-AF4C-8C27-FDE6100F39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729CE-227F-9C45-89B7-9F13080F9FB0}" type="datetimeFigureOut">
              <a:rPr lang="en-US" smtClean="0"/>
              <a:t>5/2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456C96-A5D1-8642-AABB-B0E962C57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09BD13C-F3DF-4D4A-B0FB-753575E38F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F8536-5419-8648-98A1-6292D5CD68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03497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D6F790-4DDD-E04E-9916-1C8752030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51C8CBD-AFDB-7E4B-9987-B83AE1EF2E4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A80AF4-6ACC-B14B-B5EC-7F1901CDA3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729CE-227F-9C45-89B7-9F13080F9FB0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D4A508-A2C6-854A-BFA9-79E168BE5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A140FF-3A16-684F-BB68-5589B45DB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F8536-5419-8648-98A1-6292D5CD68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228844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7E9EEC6-6B05-1444-A8DF-7A97497699F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24B049-6F6C-7844-B1B5-81AF28BBC7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9A4250-303F-4546-AFF7-570D6AD638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729CE-227F-9C45-89B7-9F13080F9FB0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89AEBF-6470-7641-9134-AF865CD928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694ACF-7EE9-6144-A975-1C33C020EE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F8536-5419-8648-98A1-6292D5CD68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3053208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9/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2873229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0" i="0">
                <a:solidFill>
                  <a:schemeClr val="tx1"/>
                </a:solidFill>
                <a:latin typeface="Calibri Light"/>
                <a:cs typeface="Calibri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9/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422424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0" i="0">
                <a:solidFill>
                  <a:schemeClr val="tx1"/>
                </a:solidFill>
                <a:latin typeface="Calibri Light"/>
                <a:cs typeface="Calibri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9/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7973673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937146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5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9574061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5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51271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5/29/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262292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5/29/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789868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5/29/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32507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5/29/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650872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5/29/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606576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5/29/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3828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5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14877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5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947680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5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3206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5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30561885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5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903171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5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592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5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840503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61149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8">
            <a:extLst>
              <a:ext uri="{FF2B5EF4-FFF2-40B4-BE49-F238E27FC236}">
                <a16:creationId xmlns:a16="http://schemas.microsoft.com/office/drawing/2014/main" id="{2E2C1E8D-F489-9086-FD5C-8BCEA3692F4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059738" y="6254750"/>
            <a:ext cx="3914775" cy="457200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Georgia" charset="0"/>
                <a:ea typeface="Osaka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Georgia" charset="0"/>
                <a:ea typeface="Osaka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Georgia" charset="0"/>
                <a:ea typeface="Osaka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Georgia" charset="0"/>
                <a:ea typeface="Osaka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Georgia" charset="0"/>
                <a:ea typeface="Osaka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Osaka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Osaka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Osaka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orgia" charset="0"/>
                <a:ea typeface="Osaka" charset="-128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100" dirty="0">
                <a:solidFill>
                  <a:srgbClr val="DCC6A7"/>
                </a:solidFill>
                <a:latin typeface="Verdana" charset="0"/>
              </a:rPr>
              <a:t>Department of Pediatrics</a:t>
            </a:r>
          </a:p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100" dirty="0">
                <a:solidFill>
                  <a:srgbClr val="DCC6A7"/>
                </a:solidFill>
                <a:latin typeface="Verdana" charset="0"/>
              </a:rPr>
              <a:t>Division of Newborn Medici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1609960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AE22C6-55EB-D341-97AC-CD9BC5C066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138E073-07E6-CA4E-91C7-7D6E28C386E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DF53D4-C306-E640-93A9-FDE3DF4128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D1A2D-644A-F34B-9F14-AF4E1A289A7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E1F3C6-B54F-3540-B733-539CE4E0AD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915C07-C5A4-E840-9448-DAB48C18D2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3AAC41-88D1-7A48-9079-3C64237A17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8619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B81F89-2E52-E144-BDD1-52465A0C8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9A212D-FF4B-254D-B4EB-6AFD45B0D1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79EF36-1040-7E49-BE3B-27C77280FA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D1A2D-644A-F34B-9F14-AF4E1A289A7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CC0E71-1287-8D46-88A0-1BCB77A192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F778C0-0851-534D-B87E-791A15BB9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3AAC41-88D1-7A48-9079-3C64237A17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660499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4FBECD-C149-D54C-A214-19C41EA46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833550-3518-7E42-A759-DBF0FA546E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EC793B-724D-1A43-97BD-6E992B1EA9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D1A2D-644A-F34B-9F14-AF4E1A289A7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C2C942-3650-A74F-94D7-6EC0C351F1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DD7C5E-4CE4-004D-9D86-9C9E51E31A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3AAC41-88D1-7A48-9079-3C64237A17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653269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EB5283-4CDC-DA46-9B13-E3E01A8C95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6FE1D-A878-3649-94C5-AFBD078D03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3EEF81-5779-824F-9100-D8715D717A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76FDE8B-383F-A241-BB96-11EC7862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D1A2D-644A-F34B-9F14-AF4E1A289A7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C5F7D7-DCF0-924F-A114-570C488A97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C6D816-CEA0-D341-8A09-94F45DEAA2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3AAC41-88D1-7A48-9079-3C64237A17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223405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921F6D-4E27-BF43-B35C-AF8C0A51C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5AC86C-BC2D-CF46-A6F3-478D303A60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2AFDCF1-992E-3E40-99C2-B7379C6501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BDF8E3-5ED9-BA4C-A30A-BA9DD42440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75E91D9-6A87-E842-BD21-D93CCA7DE4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F2427D-C525-B743-940C-CCA77A9D61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D1A2D-644A-F34B-9F14-AF4E1A289A7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6B9AFD4-4D1A-6946-8FAF-01C157D265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4054493-1204-1D43-BFB8-B969507FD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3AAC41-88D1-7A48-9079-3C64237A17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62717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99B7D9-99D5-F243-8CF6-0AC8594100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5B04A6-A561-5E41-BA58-56F2645369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D1A2D-644A-F34B-9F14-AF4E1A289A7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49BD52-688A-1A4A-9B10-57D47A956F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0B43C4-B1F2-674B-99DA-793005DE6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3AAC41-88D1-7A48-9079-3C64237A17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82933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EC7B83-4905-5642-A8A2-F2FCA86929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D1A2D-644A-F34B-9F14-AF4E1A289A7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D21AAF-B578-D34F-9942-5449A1BBD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51EF5B-8D56-014D-BE76-E10C9134C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3AAC41-88D1-7A48-9079-3C64237A17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289224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E1D5CA-BAA9-8040-9DCA-6D8A285792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15E65E-3358-6947-8833-82E5DC4E23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0D32BC-EBFF-7D47-A0D3-7E10A8DB18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56D17C-3112-B94A-9A0F-103475DA2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D1A2D-644A-F34B-9F14-AF4E1A289A7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04652A-8BD6-BA46-B529-0F5E17AB3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E87792-E0A0-4C4C-AECE-FD17598BDB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3AAC41-88D1-7A48-9079-3C64237A17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002128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61F876-3F7D-894A-BD20-0D3899E9C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DD527E-7A80-5847-9BA9-C18121F2FC2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46C3C6-31A0-9D49-85E5-D774F83185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7F0C0F-698D-A348-AA14-28D132E3B7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D1A2D-644A-F34B-9F14-AF4E1A289A7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19A3DC-BB98-CE40-90B4-2E6487CF04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C7E777-5CE5-D34F-87C1-B307AB4B1A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3AAC41-88D1-7A48-9079-3C64237A17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527045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0DA1AB-4294-EA4F-8888-8021231C7A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33D37D7-DBF5-5041-A54B-E073F78E34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A7D9F3-6F8F-034A-A26E-E690CE8361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D1A2D-644A-F34B-9F14-AF4E1A289A7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7BA2B0-3F8D-5E45-BDF6-4FA844260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94524-75EA-1742-AA9D-1E21D37EE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3AAC41-88D1-7A48-9079-3C64237A17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23994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16EFA07-34BE-454B-B0F6-FF7AEE3A3C3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7EA64A-8CB4-3445-B374-8A71108489F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082DAF-F929-514C-B2EB-FC3DC3E564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D1A2D-644A-F34B-9F14-AF4E1A289A7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8B008B-1B35-3D48-AEA8-4F08507829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347658-8124-5742-9F32-CDB566870D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3AAC41-88D1-7A48-9079-3C64237A17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9422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57221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490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6742148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14366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35727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913489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599323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16973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79775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9158287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9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2823461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2214266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7186651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5696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32.xml"/><Relationship Id="rId42" Type="http://schemas.openxmlformats.org/officeDocument/2006/relationships/slideLayout" Target="../slideLayouts/slideLayout53.xml"/><Relationship Id="rId63" Type="http://schemas.openxmlformats.org/officeDocument/2006/relationships/slideLayout" Target="../slideLayouts/slideLayout74.xml"/><Relationship Id="rId84" Type="http://schemas.openxmlformats.org/officeDocument/2006/relationships/slideLayout" Target="../slideLayouts/slideLayout95.xml"/><Relationship Id="rId138" Type="http://schemas.openxmlformats.org/officeDocument/2006/relationships/slideLayout" Target="../slideLayouts/slideLayout149.xml"/><Relationship Id="rId159" Type="http://schemas.openxmlformats.org/officeDocument/2006/relationships/slideLayout" Target="../slideLayouts/slideLayout170.xml"/><Relationship Id="rId170" Type="http://schemas.openxmlformats.org/officeDocument/2006/relationships/slideLayout" Target="../slideLayouts/slideLayout181.xml"/><Relationship Id="rId191" Type="http://schemas.openxmlformats.org/officeDocument/2006/relationships/slideLayout" Target="../slideLayouts/slideLayout202.xml"/><Relationship Id="rId205" Type="http://schemas.openxmlformats.org/officeDocument/2006/relationships/slideLayout" Target="../slideLayouts/slideLayout216.xml"/><Relationship Id="rId226" Type="http://schemas.openxmlformats.org/officeDocument/2006/relationships/theme" Target="../theme/theme2.xml"/><Relationship Id="rId107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22.xml"/><Relationship Id="rId32" Type="http://schemas.openxmlformats.org/officeDocument/2006/relationships/slideLayout" Target="../slideLayouts/slideLayout43.xml"/><Relationship Id="rId53" Type="http://schemas.openxmlformats.org/officeDocument/2006/relationships/slideLayout" Target="../slideLayouts/slideLayout64.xml"/><Relationship Id="rId74" Type="http://schemas.openxmlformats.org/officeDocument/2006/relationships/slideLayout" Target="../slideLayouts/slideLayout85.xml"/><Relationship Id="rId128" Type="http://schemas.openxmlformats.org/officeDocument/2006/relationships/slideLayout" Target="../slideLayouts/slideLayout139.xml"/><Relationship Id="rId149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6.xml"/><Relationship Id="rId95" Type="http://schemas.openxmlformats.org/officeDocument/2006/relationships/slideLayout" Target="../slideLayouts/slideLayout106.xml"/><Relationship Id="rId160" Type="http://schemas.openxmlformats.org/officeDocument/2006/relationships/slideLayout" Target="../slideLayouts/slideLayout171.xml"/><Relationship Id="rId181" Type="http://schemas.openxmlformats.org/officeDocument/2006/relationships/slideLayout" Target="../slideLayouts/slideLayout192.xml"/><Relationship Id="rId216" Type="http://schemas.openxmlformats.org/officeDocument/2006/relationships/slideLayout" Target="../slideLayouts/slideLayout227.xml"/><Relationship Id="rId22" Type="http://schemas.openxmlformats.org/officeDocument/2006/relationships/slideLayout" Target="../slideLayouts/slideLayout33.xml"/><Relationship Id="rId43" Type="http://schemas.openxmlformats.org/officeDocument/2006/relationships/slideLayout" Target="../slideLayouts/slideLayout54.xml"/><Relationship Id="rId64" Type="http://schemas.openxmlformats.org/officeDocument/2006/relationships/slideLayout" Target="../slideLayouts/slideLayout75.xml"/><Relationship Id="rId118" Type="http://schemas.openxmlformats.org/officeDocument/2006/relationships/slideLayout" Target="../slideLayouts/slideLayout129.xml"/><Relationship Id="rId139" Type="http://schemas.openxmlformats.org/officeDocument/2006/relationships/slideLayout" Target="../slideLayouts/slideLayout150.xml"/><Relationship Id="rId85" Type="http://schemas.openxmlformats.org/officeDocument/2006/relationships/slideLayout" Target="../slideLayouts/slideLayout96.xml"/><Relationship Id="rId150" Type="http://schemas.openxmlformats.org/officeDocument/2006/relationships/slideLayout" Target="../slideLayouts/slideLayout161.xml"/><Relationship Id="rId171" Type="http://schemas.openxmlformats.org/officeDocument/2006/relationships/slideLayout" Target="../slideLayouts/slideLayout182.xml"/><Relationship Id="rId192" Type="http://schemas.openxmlformats.org/officeDocument/2006/relationships/slideLayout" Target="../slideLayouts/slideLayout203.xml"/><Relationship Id="rId206" Type="http://schemas.openxmlformats.org/officeDocument/2006/relationships/slideLayout" Target="../slideLayouts/slideLayout217.xml"/><Relationship Id="rId12" Type="http://schemas.openxmlformats.org/officeDocument/2006/relationships/slideLayout" Target="../slideLayouts/slideLayout23.xml"/><Relationship Id="rId33" Type="http://schemas.openxmlformats.org/officeDocument/2006/relationships/slideLayout" Target="../slideLayouts/slideLayout44.xml"/><Relationship Id="rId108" Type="http://schemas.openxmlformats.org/officeDocument/2006/relationships/slideLayout" Target="../slideLayouts/slideLayout119.xml"/><Relationship Id="rId129" Type="http://schemas.openxmlformats.org/officeDocument/2006/relationships/slideLayout" Target="../slideLayouts/slideLayout140.xml"/><Relationship Id="rId54" Type="http://schemas.openxmlformats.org/officeDocument/2006/relationships/slideLayout" Target="../slideLayouts/slideLayout65.xml"/><Relationship Id="rId75" Type="http://schemas.openxmlformats.org/officeDocument/2006/relationships/slideLayout" Target="../slideLayouts/slideLayout86.xml"/><Relationship Id="rId96" Type="http://schemas.openxmlformats.org/officeDocument/2006/relationships/slideLayout" Target="../slideLayouts/slideLayout107.xml"/><Relationship Id="rId140" Type="http://schemas.openxmlformats.org/officeDocument/2006/relationships/slideLayout" Target="../slideLayouts/slideLayout151.xml"/><Relationship Id="rId161" Type="http://schemas.openxmlformats.org/officeDocument/2006/relationships/slideLayout" Target="../slideLayouts/slideLayout172.xml"/><Relationship Id="rId182" Type="http://schemas.openxmlformats.org/officeDocument/2006/relationships/slideLayout" Target="../slideLayouts/slideLayout193.xml"/><Relationship Id="rId217" Type="http://schemas.openxmlformats.org/officeDocument/2006/relationships/slideLayout" Target="../slideLayouts/slideLayout228.xml"/><Relationship Id="rId6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34.xml"/><Relationship Id="rId119" Type="http://schemas.openxmlformats.org/officeDocument/2006/relationships/slideLayout" Target="../slideLayouts/slideLayout130.xml"/><Relationship Id="rId44" Type="http://schemas.openxmlformats.org/officeDocument/2006/relationships/slideLayout" Target="../slideLayouts/slideLayout55.xml"/><Relationship Id="rId65" Type="http://schemas.openxmlformats.org/officeDocument/2006/relationships/slideLayout" Target="../slideLayouts/slideLayout76.xml"/><Relationship Id="rId86" Type="http://schemas.openxmlformats.org/officeDocument/2006/relationships/slideLayout" Target="../slideLayouts/slideLayout97.xml"/><Relationship Id="rId130" Type="http://schemas.openxmlformats.org/officeDocument/2006/relationships/slideLayout" Target="../slideLayouts/slideLayout141.xml"/><Relationship Id="rId151" Type="http://schemas.openxmlformats.org/officeDocument/2006/relationships/slideLayout" Target="../slideLayouts/slideLayout162.xml"/><Relationship Id="rId172" Type="http://schemas.openxmlformats.org/officeDocument/2006/relationships/slideLayout" Target="../slideLayouts/slideLayout183.xml"/><Relationship Id="rId193" Type="http://schemas.openxmlformats.org/officeDocument/2006/relationships/slideLayout" Target="../slideLayouts/slideLayout204.xml"/><Relationship Id="rId207" Type="http://schemas.openxmlformats.org/officeDocument/2006/relationships/slideLayout" Target="../slideLayouts/slideLayout218.xml"/><Relationship Id="rId13" Type="http://schemas.openxmlformats.org/officeDocument/2006/relationships/slideLayout" Target="../slideLayouts/slideLayout24.xml"/><Relationship Id="rId109" Type="http://schemas.openxmlformats.org/officeDocument/2006/relationships/slideLayout" Target="../slideLayouts/slideLayout120.xml"/><Relationship Id="rId34" Type="http://schemas.openxmlformats.org/officeDocument/2006/relationships/slideLayout" Target="../slideLayouts/slideLayout45.xml"/><Relationship Id="rId55" Type="http://schemas.openxmlformats.org/officeDocument/2006/relationships/slideLayout" Target="../slideLayouts/slideLayout66.xml"/><Relationship Id="rId76" Type="http://schemas.openxmlformats.org/officeDocument/2006/relationships/slideLayout" Target="../slideLayouts/slideLayout87.xml"/><Relationship Id="rId97" Type="http://schemas.openxmlformats.org/officeDocument/2006/relationships/slideLayout" Target="../slideLayouts/slideLayout108.xml"/><Relationship Id="rId120" Type="http://schemas.openxmlformats.org/officeDocument/2006/relationships/slideLayout" Target="../slideLayouts/slideLayout131.xml"/><Relationship Id="rId141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8.xml"/><Relationship Id="rId162" Type="http://schemas.openxmlformats.org/officeDocument/2006/relationships/slideLayout" Target="../slideLayouts/slideLayout173.xml"/><Relationship Id="rId183" Type="http://schemas.openxmlformats.org/officeDocument/2006/relationships/slideLayout" Target="../slideLayouts/slideLayout194.xml"/><Relationship Id="rId218" Type="http://schemas.openxmlformats.org/officeDocument/2006/relationships/slideLayout" Target="../slideLayouts/slideLayout229.xml"/><Relationship Id="rId24" Type="http://schemas.openxmlformats.org/officeDocument/2006/relationships/slideLayout" Target="../slideLayouts/slideLayout35.xml"/><Relationship Id="rId45" Type="http://schemas.openxmlformats.org/officeDocument/2006/relationships/slideLayout" Target="../slideLayouts/slideLayout56.xml"/><Relationship Id="rId66" Type="http://schemas.openxmlformats.org/officeDocument/2006/relationships/slideLayout" Target="../slideLayouts/slideLayout77.xml"/><Relationship Id="rId87" Type="http://schemas.openxmlformats.org/officeDocument/2006/relationships/slideLayout" Target="../slideLayouts/slideLayout98.xml"/><Relationship Id="rId110" Type="http://schemas.openxmlformats.org/officeDocument/2006/relationships/slideLayout" Target="../slideLayouts/slideLayout121.xml"/><Relationship Id="rId131" Type="http://schemas.openxmlformats.org/officeDocument/2006/relationships/slideLayout" Target="../slideLayouts/slideLayout142.xml"/><Relationship Id="rId152" Type="http://schemas.openxmlformats.org/officeDocument/2006/relationships/slideLayout" Target="../slideLayouts/slideLayout163.xml"/><Relationship Id="rId173" Type="http://schemas.openxmlformats.org/officeDocument/2006/relationships/slideLayout" Target="../slideLayouts/slideLayout184.xml"/><Relationship Id="rId194" Type="http://schemas.openxmlformats.org/officeDocument/2006/relationships/slideLayout" Target="../slideLayouts/slideLayout205.xml"/><Relationship Id="rId208" Type="http://schemas.openxmlformats.org/officeDocument/2006/relationships/slideLayout" Target="../slideLayouts/slideLayout219.xml"/><Relationship Id="rId14" Type="http://schemas.openxmlformats.org/officeDocument/2006/relationships/slideLayout" Target="../slideLayouts/slideLayout25.xml"/><Relationship Id="rId35" Type="http://schemas.openxmlformats.org/officeDocument/2006/relationships/slideLayout" Target="../slideLayouts/slideLayout46.xml"/><Relationship Id="rId56" Type="http://schemas.openxmlformats.org/officeDocument/2006/relationships/slideLayout" Target="../slideLayouts/slideLayout67.xml"/><Relationship Id="rId77" Type="http://schemas.openxmlformats.org/officeDocument/2006/relationships/slideLayout" Target="../slideLayouts/slideLayout88.xml"/><Relationship Id="rId100" Type="http://schemas.openxmlformats.org/officeDocument/2006/relationships/slideLayout" Target="../slideLayouts/slideLayout111.xml"/><Relationship Id="rId8" Type="http://schemas.openxmlformats.org/officeDocument/2006/relationships/slideLayout" Target="../slideLayouts/slideLayout19.xml"/><Relationship Id="rId98" Type="http://schemas.openxmlformats.org/officeDocument/2006/relationships/slideLayout" Target="../slideLayouts/slideLayout109.xml"/><Relationship Id="rId121" Type="http://schemas.openxmlformats.org/officeDocument/2006/relationships/slideLayout" Target="../slideLayouts/slideLayout132.xml"/><Relationship Id="rId142" Type="http://schemas.openxmlformats.org/officeDocument/2006/relationships/slideLayout" Target="../slideLayouts/slideLayout153.xml"/><Relationship Id="rId163" Type="http://schemas.openxmlformats.org/officeDocument/2006/relationships/slideLayout" Target="../slideLayouts/slideLayout174.xml"/><Relationship Id="rId184" Type="http://schemas.openxmlformats.org/officeDocument/2006/relationships/slideLayout" Target="../slideLayouts/slideLayout195.xml"/><Relationship Id="rId219" Type="http://schemas.openxmlformats.org/officeDocument/2006/relationships/slideLayout" Target="../slideLayouts/slideLayout230.xml"/><Relationship Id="rId3" Type="http://schemas.openxmlformats.org/officeDocument/2006/relationships/slideLayout" Target="../slideLayouts/slideLayout14.xml"/><Relationship Id="rId214" Type="http://schemas.openxmlformats.org/officeDocument/2006/relationships/slideLayout" Target="../slideLayouts/slideLayout225.xml"/><Relationship Id="rId25" Type="http://schemas.openxmlformats.org/officeDocument/2006/relationships/slideLayout" Target="../slideLayouts/slideLayout36.xml"/><Relationship Id="rId46" Type="http://schemas.openxmlformats.org/officeDocument/2006/relationships/slideLayout" Target="../slideLayouts/slideLayout57.xml"/><Relationship Id="rId67" Type="http://schemas.openxmlformats.org/officeDocument/2006/relationships/slideLayout" Target="../slideLayouts/slideLayout78.xml"/><Relationship Id="rId116" Type="http://schemas.openxmlformats.org/officeDocument/2006/relationships/slideLayout" Target="../slideLayouts/slideLayout127.xml"/><Relationship Id="rId137" Type="http://schemas.openxmlformats.org/officeDocument/2006/relationships/slideLayout" Target="../slideLayouts/slideLayout148.xml"/><Relationship Id="rId158" Type="http://schemas.openxmlformats.org/officeDocument/2006/relationships/slideLayout" Target="../slideLayouts/slideLayout169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62" Type="http://schemas.openxmlformats.org/officeDocument/2006/relationships/slideLayout" Target="../slideLayouts/slideLayout73.xml"/><Relationship Id="rId83" Type="http://schemas.openxmlformats.org/officeDocument/2006/relationships/slideLayout" Target="../slideLayouts/slideLayout94.xml"/><Relationship Id="rId88" Type="http://schemas.openxmlformats.org/officeDocument/2006/relationships/slideLayout" Target="../slideLayouts/slideLayout99.xml"/><Relationship Id="rId111" Type="http://schemas.openxmlformats.org/officeDocument/2006/relationships/slideLayout" Target="../slideLayouts/slideLayout122.xml"/><Relationship Id="rId132" Type="http://schemas.openxmlformats.org/officeDocument/2006/relationships/slideLayout" Target="../slideLayouts/slideLayout143.xml"/><Relationship Id="rId153" Type="http://schemas.openxmlformats.org/officeDocument/2006/relationships/slideLayout" Target="../slideLayouts/slideLayout164.xml"/><Relationship Id="rId174" Type="http://schemas.openxmlformats.org/officeDocument/2006/relationships/slideLayout" Target="../slideLayouts/slideLayout185.xml"/><Relationship Id="rId179" Type="http://schemas.openxmlformats.org/officeDocument/2006/relationships/slideLayout" Target="../slideLayouts/slideLayout190.xml"/><Relationship Id="rId195" Type="http://schemas.openxmlformats.org/officeDocument/2006/relationships/slideLayout" Target="../slideLayouts/slideLayout206.xml"/><Relationship Id="rId209" Type="http://schemas.openxmlformats.org/officeDocument/2006/relationships/slideLayout" Target="../slideLayouts/slideLayout220.xml"/><Relationship Id="rId190" Type="http://schemas.openxmlformats.org/officeDocument/2006/relationships/slideLayout" Target="../slideLayouts/slideLayout201.xml"/><Relationship Id="rId204" Type="http://schemas.openxmlformats.org/officeDocument/2006/relationships/slideLayout" Target="../slideLayouts/slideLayout215.xml"/><Relationship Id="rId220" Type="http://schemas.openxmlformats.org/officeDocument/2006/relationships/slideLayout" Target="../slideLayouts/slideLayout231.xml"/><Relationship Id="rId225" Type="http://schemas.openxmlformats.org/officeDocument/2006/relationships/slideLayout" Target="../slideLayouts/slideLayout236.xml"/><Relationship Id="rId15" Type="http://schemas.openxmlformats.org/officeDocument/2006/relationships/slideLayout" Target="../slideLayouts/slideLayout26.xml"/><Relationship Id="rId36" Type="http://schemas.openxmlformats.org/officeDocument/2006/relationships/slideLayout" Target="../slideLayouts/slideLayout47.xml"/><Relationship Id="rId57" Type="http://schemas.openxmlformats.org/officeDocument/2006/relationships/slideLayout" Target="../slideLayouts/slideLayout68.xml"/><Relationship Id="rId106" Type="http://schemas.openxmlformats.org/officeDocument/2006/relationships/slideLayout" Target="../slideLayouts/slideLayout117.xml"/><Relationship Id="rId127" Type="http://schemas.openxmlformats.org/officeDocument/2006/relationships/slideLayout" Target="../slideLayouts/slideLayout138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52" Type="http://schemas.openxmlformats.org/officeDocument/2006/relationships/slideLayout" Target="../slideLayouts/slideLayout63.xml"/><Relationship Id="rId73" Type="http://schemas.openxmlformats.org/officeDocument/2006/relationships/slideLayout" Target="../slideLayouts/slideLayout84.xml"/><Relationship Id="rId78" Type="http://schemas.openxmlformats.org/officeDocument/2006/relationships/slideLayout" Target="../slideLayouts/slideLayout89.xml"/><Relationship Id="rId94" Type="http://schemas.openxmlformats.org/officeDocument/2006/relationships/slideLayout" Target="../slideLayouts/slideLayout105.xml"/><Relationship Id="rId99" Type="http://schemas.openxmlformats.org/officeDocument/2006/relationships/slideLayout" Target="../slideLayouts/slideLayout110.xml"/><Relationship Id="rId101" Type="http://schemas.openxmlformats.org/officeDocument/2006/relationships/slideLayout" Target="../slideLayouts/slideLayout112.xml"/><Relationship Id="rId122" Type="http://schemas.openxmlformats.org/officeDocument/2006/relationships/slideLayout" Target="../slideLayouts/slideLayout133.xml"/><Relationship Id="rId143" Type="http://schemas.openxmlformats.org/officeDocument/2006/relationships/slideLayout" Target="../slideLayouts/slideLayout154.xml"/><Relationship Id="rId148" Type="http://schemas.openxmlformats.org/officeDocument/2006/relationships/slideLayout" Target="../slideLayouts/slideLayout159.xml"/><Relationship Id="rId164" Type="http://schemas.openxmlformats.org/officeDocument/2006/relationships/slideLayout" Target="../slideLayouts/slideLayout175.xml"/><Relationship Id="rId169" Type="http://schemas.openxmlformats.org/officeDocument/2006/relationships/slideLayout" Target="../slideLayouts/slideLayout180.xml"/><Relationship Id="rId185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80" Type="http://schemas.openxmlformats.org/officeDocument/2006/relationships/slideLayout" Target="../slideLayouts/slideLayout191.xml"/><Relationship Id="rId210" Type="http://schemas.openxmlformats.org/officeDocument/2006/relationships/slideLayout" Target="../slideLayouts/slideLayout221.xml"/><Relationship Id="rId215" Type="http://schemas.openxmlformats.org/officeDocument/2006/relationships/slideLayout" Target="../slideLayouts/slideLayout226.xml"/><Relationship Id="rId26" Type="http://schemas.openxmlformats.org/officeDocument/2006/relationships/slideLayout" Target="../slideLayouts/slideLayout37.xml"/><Relationship Id="rId47" Type="http://schemas.openxmlformats.org/officeDocument/2006/relationships/slideLayout" Target="../slideLayouts/slideLayout58.xml"/><Relationship Id="rId68" Type="http://schemas.openxmlformats.org/officeDocument/2006/relationships/slideLayout" Target="../slideLayouts/slideLayout79.xml"/><Relationship Id="rId89" Type="http://schemas.openxmlformats.org/officeDocument/2006/relationships/slideLayout" Target="../slideLayouts/slideLayout100.xml"/><Relationship Id="rId112" Type="http://schemas.openxmlformats.org/officeDocument/2006/relationships/slideLayout" Target="../slideLayouts/slideLayout123.xml"/><Relationship Id="rId133" Type="http://schemas.openxmlformats.org/officeDocument/2006/relationships/slideLayout" Target="../slideLayouts/slideLayout144.xml"/><Relationship Id="rId154" Type="http://schemas.openxmlformats.org/officeDocument/2006/relationships/slideLayout" Target="../slideLayouts/slideLayout165.xml"/><Relationship Id="rId175" Type="http://schemas.openxmlformats.org/officeDocument/2006/relationships/slideLayout" Target="../slideLayouts/slideLayout186.xml"/><Relationship Id="rId196" Type="http://schemas.openxmlformats.org/officeDocument/2006/relationships/slideLayout" Target="../slideLayouts/slideLayout207.xml"/><Relationship Id="rId200" Type="http://schemas.openxmlformats.org/officeDocument/2006/relationships/slideLayout" Target="../slideLayouts/slideLayout211.xml"/><Relationship Id="rId16" Type="http://schemas.openxmlformats.org/officeDocument/2006/relationships/slideLayout" Target="../slideLayouts/slideLayout27.xml"/><Relationship Id="rId221" Type="http://schemas.openxmlformats.org/officeDocument/2006/relationships/slideLayout" Target="../slideLayouts/slideLayout232.xml"/><Relationship Id="rId37" Type="http://schemas.openxmlformats.org/officeDocument/2006/relationships/slideLayout" Target="../slideLayouts/slideLayout48.xml"/><Relationship Id="rId58" Type="http://schemas.openxmlformats.org/officeDocument/2006/relationships/slideLayout" Target="../slideLayouts/slideLayout69.xml"/><Relationship Id="rId79" Type="http://schemas.openxmlformats.org/officeDocument/2006/relationships/slideLayout" Target="../slideLayouts/slideLayout90.xml"/><Relationship Id="rId102" Type="http://schemas.openxmlformats.org/officeDocument/2006/relationships/slideLayout" Target="../slideLayouts/slideLayout113.xml"/><Relationship Id="rId123" Type="http://schemas.openxmlformats.org/officeDocument/2006/relationships/slideLayout" Target="../slideLayouts/slideLayout134.xml"/><Relationship Id="rId144" Type="http://schemas.openxmlformats.org/officeDocument/2006/relationships/slideLayout" Target="../slideLayouts/slideLayout155.xml"/><Relationship Id="rId90" Type="http://schemas.openxmlformats.org/officeDocument/2006/relationships/slideLayout" Target="../slideLayouts/slideLayout101.xml"/><Relationship Id="rId165" Type="http://schemas.openxmlformats.org/officeDocument/2006/relationships/slideLayout" Target="../slideLayouts/slideLayout176.xml"/><Relationship Id="rId186" Type="http://schemas.openxmlformats.org/officeDocument/2006/relationships/slideLayout" Target="../slideLayouts/slideLayout197.xml"/><Relationship Id="rId211" Type="http://schemas.openxmlformats.org/officeDocument/2006/relationships/slideLayout" Target="../slideLayouts/slideLayout222.xml"/><Relationship Id="rId27" Type="http://schemas.openxmlformats.org/officeDocument/2006/relationships/slideLayout" Target="../slideLayouts/slideLayout38.xml"/><Relationship Id="rId48" Type="http://schemas.openxmlformats.org/officeDocument/2006/relationships/slideLayout" Target="../slideLayouts/slideLayout59.xml"/><Relationship Id="rId69" Type="http://schemas.openxmlformats.org/officeDocument/2006/relationships/slideLayout" Target="../slideLayouts/slideLayout80.xml"/><Relationship Id="rId113" Type="http://schemas.openxmlformats.org/officeDocument/2006/relationships/slideLayout" Target="../slideLayouts/slideLayout124.xml"/><Relationship Id="rId134" Type="http://schemas.openxmlformats.org/officeDocument/2006/relationships/slideLayout" Target="../slideLayouts/slideLayout145.xml"/><Relationship Id="rId80" Type="http://schemas.openxmlformats.org/officeDocument/2006/relationships/slideLayout" Target="../slideLayouts/slideLayout91.xml"/><Relationship Id="rId155" Type="http://schemas.openxmlformats.org/officeDocument/2006/relationships/slideLayout" Target="../slideLayouts/slideLayout166.xml"/><Relationship Id="rId176" Type="http://schemas.openxmlformats.org/officeDocument/2006/relationships/slideLayout" Target="../slideLayouts/slideLayout187.xml"/><Relationship Id="rId197" Type="http://schemas.openxmlformats.org/officeDocument/2006/relationships/slideLayout" Target="../slideLayouts/slideLayout208.xml"/><Relationship Id="rId201" Type="http://schemas.openxmlformats.org/officeDocument/2006/relationships/slideLayout" Target="../slideLayouts/slideLayout212.xml"/><Relationship Id="rId222" Type="http://schemas.openxmlformats.org/officeDocument/2006/relationships/slideLayout" Target="../slideLayouts/slideLayout233.xml"/><Relationship Id="rId17" Type="http://schemas.openxmlformats.org/officeDocument/2006/relationships/slideLayout" Target="../slideLayouts/slideLayout28.xml"/><Relationship Id="rId38" Type="http://schemas.openxmlformats.org/officeDocument/2006/relationships/slideLayout" Target="../slideLayouts/slideLayout49.xml"/><Relationship Id="rId59" Type="http://schemas.openxmlformats.org/officeDocument/2006/relationships/slideLayout" Target="../slideLayouts/slideLayout70.xml"/><Relationship Id="rId103" Type="http://schemas.openxmlformats.org/officeDocument/2006/relationships/slideLayout" Target="../slideLayouts/slideLayout114.xml"/><Relationship Id="rId124" Type="http://schemas.openxmlformats.org/officeDocument/2006/relationships/slideLayout" Target="../slideLayouts/slideLayout135.xml"/><Relationship Id="rId70" Type="http://schemas.openxmlformats.org/officeDocument/2006/relationships/slideLayout" Target="../slideLayouts/slideLayout81.xml"/><Relationship Id="rId91" Type="http://schemas.openxmlformats.org/officeDocument/2006/relationships/slideLayout" Target="../slideLayouts/slideLayout102.xml"/><Relationship Id="rId145" Type="http://schemas.openxmlformats.org/officeDocument/2006/relationships/slideLayout" Target="../slideLayouts/slideLayout156.xml"/><Relationship Id="rId166" Type="http://schemas.openxmlformats.org/officeDocument/2006/relationships/slideLayout" Target="../slideLayouts/slideLayout177.xml"/><Relationship Id="rId187" Type="http://schemas.openxmlformats.org/officeDocument/2006/relationships/slideLayout" Target="../slideLayouts/slideLayout198.xml"/><Relationship Id="rId1" Type="http://schemas.openxmlformats.org/officeDocument/2006/relationships/slideLayout" Target="../slideLayouts/slideLayout12.xml"/><Relationship Id="rId212" Type="http://schemas.openxmlformats.org/officeDocument/2006/relationships/slideLayout" Target="../slideLayouts/slideLayout223.xml"/><Relationship Id="rId28" Type="http://schemas.openxmlformats.org/officeDocument/2006/relationships/slideLayout" Target="../slideLayouts/slideLayout39.xml"/><Relationship Id="rId49" Type="http://schemas.openxmlformats.org/officeDocument/2006/relationships/slideLayout" Target="../slideLayouts/slideLayout60.xml"/><Relationship Id="rId114" Type="http://schemas.openxmlformats.org/officeDocument/2006/relationships/slideLayout" Target="../slideLayouts/slideLayout125.xml"/><Relationship Id="rId60" Type="http://schemas.openxmlformats.org/officeDocument/2006/relationships/slideLayout" Target="../slideLayouts/slideLayout71.xml"/><Relationship Id="rId81" Type="http://schemas.openxmlformats.org/officeDocument/2006/relationships/slideLayout" Target="../slideLayouts/slideLayout92.xml"/><Relationship Id="rId135" Type="http://schemas.openxmlformats.org/officeDocument/2006/relationships/slideLayout" Target="../slideLayouts/slideLayout146.xml"/><Relationship Id="rId156" Type="http://schemas.openxmlformats.org/officeDocument/2006/relationships/slideLayout" Target="../slideLayouts/slideLayout167.xml"/><Relationship Id="rId177" Type="http://schemas.openxmlformats.org/officeDocument/2006/relationships/slideLayout" Target="../slideLayouts/slideLayout188.xml"/><Relationship Id="rId198" Type="http://schemas.openxmlformats.org/officeDocument/2006/relationships/slideLayout" Target="../slideLayouts/slideLayout209.xml"/><Relationship Id="rId202" Type="http://schemas.openxmlformats.org/officeDocument/2006/relationships/slideLayout" Target="../slideLayouts/slideLayout213.xml"/><Relationship Id="rId223" Type="http://schemas.openxmlformats.org/officeDocument/2006/relationships/slideLayout" Target="../slideLayouts/slideLayout234.xml"/><Relationship Id="rId18" Type="http://schemas.openxmlformats.org/officeDocument/2006/relationships/slideLayout" Target="../slideLayouts/slideLayout29.xml"/><Relationship Id="rId39" Type="http://schemas.openxmlformats.org/officeDocument/2006/relationships/slideLayout" Target="../slideLayouts/slideLayout50.xml"/><Relationship Id="rId50" Type="http://schemas.openxmlformats.org/officeDocument/2006/relationships/slideLayout" Target="../slideLayouts/slideLayout61.xml"/><Relationship Id="rId104" Type="http://schemas.openxmlformats.org/officeDocument/2006/relationships/slideLayout" Target="../slideLayouts/slideLayout115.xml"/><Relationship Id="rId125" Type="http://schemas.openxmlformats.org/officeDocument/2006/relationships/slideLayout" Target="../slideLayouts/slideLayout136.xml"/><Relationship Id="rId146" Type="http://schemas.openxmlformats.org/officeDocument/2006/relationships/slideLayout" Target="../slideLayouts/slideLayout157.xml"/><Relationship Id="rId167" Type="http://schemas.openxmlformats.org/officeDocument/2006/relationships/slideLayout" Target="../slideLayouts/slideLayout178.xml"/><Relationship Id="rId188" Type="http://schemas.openxmlformats.org/officeDocument/2006/relationships/slideLayout" Target="../slideLayouts/slideLayout199.xml"/><Relationship Id="rId71" Type="http://schemas.openxmlformats.org/officeDocument/2006/relationships/slideLayout" Target="../slideLayouts/slideLayout82.xml"/><Relationship Id="rId92" Type="http://schemas.openxmlformats.org/officeDocument/2006/relationships/slideLayout" Target="../slideLayouts/slideLayout103.xml"/><Relationship Id="rId213" Type="http://schemas.openxmlformats.org/officeDocument/2006/relationships/slideLayout" Target="../slideLayouts/slideLayout224.xml"/><Relationship Id="rId2" Type="http://schemas.openxmlformats.org/officeDocument/2006/relationships/slideLayout" Target="../slideLayouts/slideLayout13.xml"/><Relationship Id="rId29" Type="http://schemas.openxmlformats.org/officeDocument/2006/relationships/slideLayout" Target="../slideLayouts/slideLayout40.xml"/><Relationship Id="rId40" Type="http://schemas.openxmlformats.org/officeDocument/2006/relationships/slideLayout" Target="../slideLayouts/slideLayout51.xml"/><Relationship Id="rId115" Type="http://schemas.openxmlformats.org/officeDocument/2006/relationships/slideLayout" Target="../slideLayouts/slideLayout126.xml"/><Relationship Id="rId136" Type="http://schemas.openxmlformats.org/officeDocument/2006/relationships/slideLayout" Target="../slideLayouts/slideLayout147.xml"/><Relationship Id="rId157" Type="http://schemas.openxmlformats.org/officeDocument/2006/relationships/slideLayout" Target="../slideLayouts/slideLayout168.xml"/><Relationship Id="rId178" Type="http://schemas.openxmlformats.org/officeDocument/2006/relationships/slideLayout" Target="../slideLayouts/slideLayout189.xml"/><Relationship Id="rId61" Type="http://schemas.openxmlformats.org/officeDocument/2006/relationships/slideLayout" Target="../slideLayouts/slideLayout72.xml"/><Relationship Id="rId82" Type="http://schemas.openxmlformats.org/officeDocument/2006/relationships/slideLayout" Target="../slideLayouts/slideLayout93.xml"/><Relationship Id="rId199" Type="http://schemas.openxmlformats.org/officeDocument/2006/relationships/slideLayout" Target="../slideLayouts/slideLayout210.xml"/><Relationship Id="rId203" Type="http://schemas.openxmlformats.org/officeDocument/2006/relationships/slideLayout" Target="../slideLayouts/slideLayout214.xml"/><Relationship Id="rId19" Type="http://schemas.openxmlformats.org/officeDocument/2006/relationships/slideLayout" Target="../slideLayouts/slideLayout30.xml"/><Relationship Id="rId224" Type="http://schemas.openxmlformats.org/officeDocument/2006/relationships/slideLayout" Target="../slideLayouts/slideLayout235.xml"/><Relationship Id="rId30" Type="http://schemas.openxmlformats.org/officeDocument/2006/relationships/slideLayout" Target="../slideLayouts/slideLayout41.xml"/><Relationship Id="rId105" Type="http://schemas.openxmlformats.org/officeDocument/2006/relationships/slideLayout" Target="../slideLayouts/slideLayout116.xml"/><Relationship Id="rId126" Type="http://schemas.openxmlformats.org/officeDocument/2006/relationships/slideLayout" Target="../slideLayouts/slideLayout137.xml"/><Relationship Id="rId147" Type="http://schemas.openxmlformats.org/officeDocument/2006/relationships/slideLayout" Target="../slideLayouts/slideLayout158.xml"/><Relationship Id="rId168" Type="http://schemas.openxmlformats.org/officeDocument/2006/relationships/slideLayout" Target="../slideLayouts/slideLayout179.xml"/><Relationship Id="rId51" Type="http://schemas.openxmlformats.org/officeDocument/2006/relationships/slideLayout" Target="../slideLayouts/slideLayout62.xml"/><Relationship Id="rId72" Type="http://schemas.openxmlformats.org/officeDocument/2006/relationships/slideLayout" Target="../slideLayouts/slideLayout83.xml"/><Relationship Id="rId93" Type="http://schemas.openxmlformats.org/officeDocument/2006/relationships/slideLayout" Target="../slideLayouts/slideLayout104.xml"/><Relationship Id="rId189" Type="http://schemas.openxmlformats.org/officeDocument/2006/relationships/slideLayout" Target="../slideLayouts/slideLayout20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4.xml"/><Relationship Id="rId13" Type="http://schemas.openxmlformats.org/officeDocument/2006/relationships/slideLayout" Target="../slideLayouts/slideLayout249.xml"/><Relationship Id="rId3" Type="http://schemas.openxmlformats.org/officeDocument/2006/relationships/slideLayout" Target="../slideLayouts/slideLayout239.xml"/><Relationship Id="rId7" Type="http://schemas.openxmlformats.org/officeDocument/2006/relationships/slideLayout" Target="../slideLayouts/slideLayout243.xml"/><Relationship Id="rId12" Type="http://schemas.openxmlformats.org/officeDocument/2006/relationships/slideLayout" Target="../slideLayouts/slideLayout248.xml"/><Relationship Id="rId2" Type="http://schemas.openxmlformats.org/officeDocument/2006/relationships/slideLayout" Target="../slideLayouts/slideLayout238.xml"/><Relationship Id="rId1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42.xml"/><Relationship Id="rId11" Type="http://schemas.openxmlformats.org/officeDocument/2006/relationships/slideLayout" Target="../slideLayouts/slideLayout247.xml"/><Relationship Id="rId5" Type="http://schemas.openxmlformats.org/officeDocument/2006/relationships/slideLayout" Target="../slideLayouts/slideLayout24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246.xml"/><Relationship Id="rId4" Type="http://schemas.openxmlformats.org/officeDocument/2006/relationships/slideLayout" Target="../slideLayouts/slideLayout240.xml"/><Relationship Id="rId9" Type="http://schemas.openxmlformats.org/officeDocument/2006/relationships/slideLayout" Target="../slideLayouts/slideLayout245.xml"/><Relationship Id="rId14" Type="http://schemas.openxmlformats.org/officeDocument/2006/relationships/slideLayout" Target="../slideLayouts/slideLayout25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8.xml"/><Relationship Id="rId13" Type="http://schemas.openxmlformats.org/officeDocument/2006/relationships/slideLayout" Target="../slideLayouts/slideLayout263.xml"/><Relationship Id="rId3" Type="http://schemas.openxmlformats.org/officeDocument/2006/relationships/slideLayout" Target="../slideLayouts/slideLayout253.xml"/><Relationship Id="rId7" Type="http://schemas.openxmlformats.org/officeDocument/2006/relationships/slideLayout" Target="../slideLayouts/slideLayout257.xml"/><Relationship Id="rId12" Type="http://schemas.openxmlformats.org/officeDocument/2006/relationships/slideLayout" Target="../slideLayouts/slideLayout262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252.xml"/><Relationship Id="rId16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51.xml"/><Relationship Id="rId6" Type="http://schemas.openxmlformats.org/officeDocument/2006/relationships/slideLayout" Target="../slideLayouts/slideLayout256.xml"/><Relationship Id="rId11" Type="http://schemas.openxmlformats.org/officeDocument/2006/relationships/slideLayout" Target="../slideLayouts/slideLayout261.xml"/><Relationship Id="rId5" Type="http://schemas.openxmlformats.org/officeDocument/2006/relationships/slideLayout" Target="../slideLayouts/slideLayout255.xml"/><Relationship Id="rId15" Type="http://schemas.openxmlformats.org/officeDocument/2006/relationships/slideLayout" Target="../slideLayouts/slideLayout265.xml"/><Relationship Id="rId10" Type="http://schemas.openxmlformats.org/officeDocument/2006/relationships/slideLayout" Target="../slideLayouts/slideLayout260.xml"/><Relationship Id="rId4" Type="http://schemas.openxmlformats.org/officeDocument/2006/relationships/slideLayout" Target="../slideLayouts/slideLayout254.xml"/><Relationship Id="rId9" Type="http://schemas.openxmlformats.org/officeDocument/2006/relationships/slideLayout" Target="../slideLayouts/slideLayout259.xml"/><Relationship Id="rId14" Type="http://schemas.openxmlformats.org/officeDocument/2006/relationships/slideLayout" Target="../slideLayouts/slideLayout26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268.xml"/><Relationship Id="rId1" Type="http://schemas.openxmlformats.org/officeDocument/2006/relationships/slideLayout" Target="../slideLayouts/slideLayout267.xml"/><Relationship Id="rId4" Type="http://schemas.openxmlformats.org/officeDocument/2006/relationships/image" Target="../media/image66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6.xml"/><Relationship Id="rId3" Type="http://schemas.openxmlformats.org/officeDocument/2006/relationships/slideLayout" Target="../slideLayouts/slideLayout271.xml"/><Relationship Id="rId7" Type="http://schemas.openxmlformats.org/officeDocument/2006/relationships/slideLayout" Target="../slideLayouts/slideLayout27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270.xml"/><Relationship Id="rId1" Type="http://schemas.openxmlformats.org/officeDocument/2006/relationships/slideLayout" Target="../slideLayouts/slideLayout269.xml"/><Relationship Id="rId6" Type="http://schemas.openxmlformats.org/officeDocument/2006/relationships/slideLayout" Target="../slideLayouts/slideLayout274.xml"/><Relationship Id="rId11" Type="http://schemas.openxmlformats.org/officeDocument/2006/relationships/slideLayout" Target="../slideLayouts/slideLayout279.xml"/><Relationship Id="rId5" Type="http://schemas.openxmlformats.org/officeDocument/2006/relationships/slideLayout" Target="../slideLayouts/slideLayout273.xml"/><Relationship Id="rId10" Type="http://schemas.openxmlformats.org/officeDocument/2006/relationships/slideLayout" Target="../slideLayouts/slideLayout278.xml"/><Relationship Id="rId4" Type="http://schemas.openxmlformats.org/officeDocument/2006/relationships/slideLayout" Target="../slideLayouts/slideLayout272.xml"/><Relationship Id="rId9" Type="http://schemas.openxmlformats.org/officeDocument/2006/relationships/slideLayout" Target="../slideLayouts/slideLayout2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1" r:id="rId1"/>
    <p:sldLayoutId id="2147485242" r:id="rId2"/>
    <p:sldLayoutId id="2147485258" r:id="rId3"/>
    <p:sldLayoutId id="2147485259" r:id="rId4"/>
    <p:sldLayoutId id="2147485260" r:id="rId5"/>
    <p:sldLayoutId id="2147485261" r:id="rId6"/>
    <p:sldLayoutId id="2147485262" r:id="rId7"/>
    <p:sldLayoutId id="2147485263" r:id="rId8"/>
    <p:sldLayoutId id="2147485264" r:id="rId9"/>
    <p:sldLayoutId id="2147485265" r:id="rId10"/>
    <p:sldLayoutId id="214748526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6997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836" r:id="rId2"/>
    <p:sldLayoutId id="2147483716" r:id="rId3"/>
    <p:sldLayoutId id="2147483741" r:id="rId4"/>
    <p:sldLayoutId id="2147483717" r:id="rId5"/>
    <p:sldLayoutId id="2147483718" r:id="rId6"/>
    <p:sldLayoutId id="2147483719" r:id="rId7"/>
    <p:sldLayoutId id="2147483723" r:id="rId8"/>
    <p:sldLayoutId id="2147483837" r:id="rId9"/>
    <p:sldLayoutId id="2147484354" r:id="rId10"/>
    <p:sldLayoutId id="2147484219" r:id="rId11"/>
    <p:sldLayoutId id="2147484220" r:id="rId12"/>
    <p:sldLayoutId id="2147484355" r:id="rId13"/>
    <p:sldLayoutId id="2147484356" r:id="rId14"/>
    <p:sldLayoutId id="2147484357" r:id="rId15"/>
    <p:sldLayoutId id="2147484358" r:id="rId16"/>
    <p:sldLayoutId id="2147483844" r:id="rId17"/>
    <p:sldLayoutId id="2147483845" r:id="rId18"/>
    <p:sldLayoutId id="2147484238" r:id="rId19"/>
    <p:sldLayoutId id="2147484200" r:id="rId20"/>
    <p:sldLayoutId id="2147484221" r:id="rId21"/>
    <p:sldLayoutId id="2147484202" r:id="rId22"/>
    <p:sldLayoutId id="2147484203" r:id="rId23"/>
    <p:sldLayoutId id="2147484204" r:id="rId24"/>
    <p:sldLayoutId id="2147484205" r:id="rId25"/>
    <p:sldLayoutId id="2147484206" r:id="rId26"/>
    <p:sldLayoutId id="2147484237" r:id="rId27"/>
    <p:sldLayoutId id="2147484208" r:id="rId28"/>
    <p:sldLayoutId id="2147485064" r:id="rId29"/>
    <p:sldLayoutId id="2147485065" r:id="rId30"/>
    <p:sldLayoutId id="2147485203" r:id="rId31"/>
    <p:sldLayoutId id="2147485066" r:id="rId32"/>
    <p:sldLayoutId id="2147485067" r:id="rId33"/>
    <p:sldLayoutId id="2147485068" r:id="rId34"/>
    <p:sldLayoutId id="2147485069" r:id="rId35"/>
    <p:sldLayoutId id="2147485341" r:id="rId36"/>
    <p:sldLayoutId id="2147485070" r:id="rId37"/>
    <p:sldLayoutId id="2147485204" r:id="rId38"/>
    <p:sldLayoutId id="2147485071" r:id="rId39"/>
    <p:sldLayoutId id="2147484359" r:id="rId40"/>
    <p:sldLayoutId id="2147484360" r:id="rId41"/>
    <p:sldLayoutId id="2147484361" r:id="rId42"/>
    <p:sldLayoutId id="2147483795" r:id="rId43"/>
    <p:sldLayoutId id="2147484346" r:id="rId44"/>
    <p:sldLayoutId id="2147484362" r:id="rId45"/>
    <p:sldLayoutId id="2147484363" r:id="rId46"/>
    <p:sldLayoutId id="2147484364" r:id="rId47"/>
    <p:sldLayoutId id="2147484365" r:id="rId48"/>
    <p:sldLayoutId id="2147484366" r:id="rId49"/>
    <p:sldLayoutId id="2147484367" r:id="rId50"/>
    <p:sldLayoutId id="2147484766" r:id="rId51"/>
    <p:sldLayoutId id="2147484557" r:id="rId52"/>
    <p:sldLayoutId id="2147484369" r:id="rId53"/>
    <p:sldLayoutId id="2147484767" r:id="rId54"/>
    <p:sldLayoutId id="2147484371" r:id="rId55"/>
    <p:sldLayoutId id="2147484372" r:id="rId56"/>
    <p:sldLayoutId id="2147484373" r:id="rId57"/>
    <p:sldLayoutId id="2147484374" r:id="rId58"/>
    <p:sldLayoutId id="2147484375" r:id="rId59"/>
    <p:sldLayoutId id="2147484768" r:id="rId60"/>
    <p:sldLayoutId id="2147484377" r:id="rId61"/>
    <p:sldLayoutId id="2147483721" r:id="rId62"/>
    <p:sldLayoutId id="2147483736" r:id="rId63"/>
    <p:sldLayoutId id="2147484353" r:id="rId64"/>
    <p:sldLayoutId id="2147483720" r:id="rId65"/>
    <p:sldLayoutId id="2147483722" r:id="rId66"/>
    <p:sldLayoutId id="2147485217" r:id="rId67"/>
    <p:sldLayoutId id="2147485218" r:id="rId68"/>
    <p:sldLayoutId id="2147485216" r:id="rId69"/>
    <p:sldLayoutId id="2147483764" r:id="rId70"/>
    <p:sldLayoutId id="2147483765" r:id="rId71"/>
    <p:sldLayoutId id="2147483766" r:id="rId72"/>
    <p:sldLayoutId id="2147483767" r:id="rId73"/>
    <p:sldLayoutId id="2147483739" r:id="rId74"/>
    <p:sldLayoutId id="2147485211" r:id="rId75"/>
    <p:sldLayoutId id="2147483700" r:id="rId76"/>
    <p:sldLayoutId id="2147485205" r:id="rId77"/>
    <p:sldLayoutId id="2147483701" r:id="rId78"/>
    <p:sldLayoutId id="2147483702" r:id="rId79"/>
    <p:sldLayoutId id="2147484780" r:id="rId80"/>
    <p:sldLayoutId id="2147483707" r:id="rId81"/>
    <p:sldLayoutId id="2147485206" r:id="rId82"/>
    <p:sldLayoutId id="2147485072" r:id="rId83"/>
    <p:sldLayoutId id="2147485198" r:id="rId84"/>
    <p:sldLayoutId id="2147483708" r:id="rId85"/>
    <p:sldLayoutId id="2147483709" r:id="rId86"/>
    <p:sldLayoutId id="2147484773" r:id="rId87"/>
    <p:sldLayoutId id="2147483711" r:id="rId88"/>
    <p:sldLayoutId id="2147484778" r:id="rId89"/>
    <p:sldLayoutId id="2147484454" r:id="rId90"/>
    <p:sldLayoutId id="2147483713" r:id="rId91"/>
    <p:sldLayoutId id="2147484231" r:id="rId92"/>
    <p:sldLayoutId id="2147484268" r:id="rId93"/>
    <p:sldLayoutId id="2147484235" r:id="rId94"/>
    <p:sldLayoutId id="2147484224" r:id="rId95"/>
    <p:sldLayoutId id="2147484245" r:id="rId96"/>
    <p:sldLayoutId id="2147484262" r:id="rId97"/>
    <p:sldLayoutId id="2147484770" r:id="rId98"/>
    <p:sldLayoutId id="2147484771" r:id="rId99"/>
    <p:sldLayoutId id="2147484772" r:id="rId100"/>
    <p:sldLayoutId id="2147484233" r:id="rId101"/>
    <p:sldLayoutId id="2147483710" r:id="rId102"/>
    <p:sldLayoutId id="2147484774" r:id="rId103"/>
    <p:sldLayoutId id="2147484775" r:id="rId104"/>
    <p:sldLayoutId id="2147484479" r:id="rId105"/>
    <p:sldLayoutId id="2147484776" r:id="rId106"/>
    <p:sldLayoutId id="2147484777" r:id="rId107"/>
    <p:sldLayoutId id="2147484400" r:id="rId108"/>
    <p:sldLayoutId id="2147484401" r:id="rId109"/>
    <p:sldLayoutId id="2147484402" r:id="rId110"/>
    <p:sldLayoutId id="2147483712" r:id="rId111"/>
    <p:sldLayoutId id="2147484464" r:id="rId112"/>
    <p:sldLayoutId id="2147484769" r:id="rId113"/>
    <p:sldLayoutId id="2147485210" r:id="rId114"/>
    <p:sldLayoutId id="2147483868" r:id="rId115"/>
    <p:sldLayoutId id="2147484781" r:id="rId116"/>
    <p:sldLayoutId id="2147484782" r:id="rId117"/>
    <p:sldLayoutId id="2147484783" r:id="rId118"/>
    <p:sldLayoutId id="2147484784" r:id="rId119"/>
    <p:sldLayoutId id="2147483813" r:id="rId120"/>
    <p:sldLayoutId id="2147483814" r:id="rId121"/>
    <p:sldLayoutId id="2147483815" r:id="rId122"/>
    <p:sldLayoutId id="2147483816" r:id="rId123"/>
    <p:sldLayoutId id="2147485207" r:id="rId124"/>
    <p:sldLayoutId id="2147485199" r:id="rId125"/>
    <p:sldLayoutId id="2147485200" r:id="rId126"/>
    <p:sldLayoutId id="2147485201" r:id="rId127"/>
    <p:sldLayoutId id="2147484385" r:id="rId128"/>
    <p:sldLayoutId id="2147483752" r:id="rId129"/>
    <p:sldLayoutId id="2147485213" r:id="rId130"/>
    <p:sldLayoutId id="2147485214" r:id="rId131"/>
    <p:sldLayoutId id="2147485215" r:id="rId132"/>
    <p:sldLayoutId id="2147485233" r:id="rId133"/>
    <p:sldLayoutId id="2147485234" r:id="rId134"/>
    <p:sldLayoutId id="2147485179" r:id="rId135"/>
    <p:sldLayoutId id="2147485202" r:id="rId136"/>
    <p:sldLayoutId id="2147485235" r:id="rId137"/>
    <p:sldLayoutId id="2147485236" r:id="rId138"/>
    <p:sldLayoutId id="2147485237" r:id="rId139"/>
    <p:sldLayoutId id="2147485238" r:id="rId140"/>
    <p:sldLayoutId id="2147485239" r:id="rId141"/>
    <p:sldLayoutId id="2147484329" r:id="rId142"/>
    <p:sldLayoutId id="2147484330" r:id="rId143"/>
    <p:sldLayoutId id="2147484331" r:id="rId144"/>
    <p:sldLayoutId id="2147484332" r:id="rId145"/>
    <p:sldLayoutId id="2147484485" r:id="rId146"/>
    <p:sldLayoutId id="2147484486" r:id="rId147"/>
    <p:sldLayoutId id="2147483879" r:id="rId148"/>
    <p:sldLayoutId id="2147484477" r:id="rId149"/>
    <p:sldLayoutId id="2147484478" r:id="rId150"/>
    <p:sldLayoutId id="2147484260" r:id="rId151"/>
    <p:sldLayoutId id="2147484226" r:id="rId152"/>
    <p:sldLayoutId id="2147484480" r:id="rId153"/>
    <p:sldLayoutId id="2147484267" r:id="rId154"/>
    <p:sldLayoutId id="2147484481" r:id="rId155"/>
    <p:sldLayoutId id="2147484482" r:id="rId156"/>
    <p:sldLayoutId id="2147484483" r:id="rId157"/>
    <p:sldLayoutId id="2147484484" r:id="rId158"/>
    <p:sldLayoutId id="2147483792" r:id="rId159"/>
    <p:sldLayoutId id="2147483793" r:id="rId160"/>
    <p:sldLayoutId id="2147483794" r:id="rId161"/>
    <p:sldLayoutId id="2147484227" r:id="rId162"/>
    <p:sldLayoutId id="2147483796" r:id="rId163"/>
    <p:sldLayoutId id="2147483797" r:id="rId164"/>
    <p:sldLayoutId id="2147483798" r:id="rId165"/>
    <p:sldLayoutId id="2147483799" r:id="rId166"/>
    <p:sldLayoutId id="2147483800" r:id="rId167"/>
    <p:sldLayoutId id="2147483801" r:id="rId168"/>
    <p:sldLayoutId id="2147485208" r:id="rId169"/>
    <p:sldLayoutId id="2147485209" r:id="rId170"/>
    <p:sldLayoutId id="2147484652" r:id="rId171"/>
    <p:sldLayoutId id="2147483877" r:id="rId172"/>
    <p:sldLayoutId id="2147483878" r:id="rId173"/>
    <p:sldLayoutId id="2147483788" r:id="rId174"/>
    <p:sldLayoutId id="2147483704" r:id="rId175"/>
    <p:sldLayoutId id="2147483705" r:id="rId176"/>
    <p:sldLayoutId id="2147485212" r:id="rId177"/>
    <p:sldLayoutId id="2147485224" r:id="rId178"/>
    <p:sldLayoutId id="2147483789" r:id="rId179"/>
    <p:sldLayoutId id="2147483790" r:id="rId180"/>
    <p:sldLayoutId id="2147483791" r:id="rId181"/>
    <p:sldLayoutId id="2147484785" r:id="rId182"/>
    <p:sldLayoutId id="2147484786" r:id="rId183"/>
    <p:sldLayoutId id="2147484787" r:id="rId184"/>
    <p:sldLayoutId id="2147484475" r:id="rId185"/>
    <p:sldLayoutId id="2147484765" r:id="rId186"/>
    <p:sldLayoutId id="2147484335" r:id="rId187"/>
    <p:sldLayoutId id="2147484336" r:id="rId188"/>
    <p:sldLayoutId id="2147484337" r:id="rId189"/>
    <p:sldLayoutId id="2147485229" r:id="rId190"/>
    <p:sldLayoutId id="2147484338" r:id="rId191"/>
    <p:sldLayoutId id="2147484339" r:id="rId192"/>
    <p:sldLayoutId id="2147484340" r:id="rId193"/>
    <p:sldLayoutId id="2147484341" r:id="rId194"/>
    <p:sldLayoutId id="2147484342" r:id="rId195"/>
    <p:sldLayoutId id="2147484343" r:id="rId196"/>
    <p:sldLayoutId id="2147484344" r:id="rId197"/>
    <p:sldLayoutId id="2147484222" r:id="rId198"/>
    <p:sldLayoutId id="2147483703" r:id="rId199"/>
    <p:sldLayoutId id="2147483680" r:id="rId200"/>
    <p:sldLayoutId id="2147485336" r:id="rId201"/>
    <p:sldLayoutId id="2147485197" r:id="rId202"/>
    <p:sldLayoutId id="2147483682" r:id="rId203"/>
    <p:sldLayoutId id="2147485337" r:id="rId204"/>
    <p:sldLayoutId id="2147485338" r:id="rId205"/>
    <p:sldLayoutId id="2147483684" r:id="rId206"/>
    <p:sldLayoutId id="2147483685" r:id="rId207"/>
    <p:sldLayoutId id="2147483686" r:id="rId208"/>
    <p:sldLayoutId id="2147483687" r:id="rId209"/>
    <p:sldLayoutId id="2147483688" r:id="rId210"/>
    <p:sldLayoutId id="2147485221" r:id="rId211"/>
    <p:sldLayoutId id="2147483689" r:id="rId212"/>
    <p:sldLayoutId id="2147483690" r:id="rId213"/>
    <p:sldLayoutId id="2147485222" r:id="rId214"/>
    <p:sldLayoutId id="2147483691" r:id="rId215"/>
    <p:sldLayoutId id="2147483692" r:id="rId216"/>
    <p:sldLayoutId id="2147483693" r:id="rId217"/>
    <p:sldLayoutId id="2147483694" r:id="rId218"/>
    <p:sldLayoutId id="2147485339" r:id="rId219"/>
    <p:sldLayoutId id="2147485296" r:id="rId220"/>
    <p:sldLayoutId id="2147485297" r:id="rId221"/>
    <p:sldLayoutId id="2147485298" r:id="rId222"/>
    <p:sldLayoutId id="2147485340" r:id="rId223"/>
    <p:sldLayoutId id="2147485299" r:id="rId224"/>
    <p:sldLayoutId id="2147484225" r:id="rId22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BAF699B-5201-8441-8A65-3E8182177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BE46B8-86B9-F341-8420-F4F7515D79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921760-25AB-3C44-A345-B71450A291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B729CE-227F-9C45-89B7-9F13080F9FB0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DDBA00-3828-F745-9FAE-72ACDCD7AC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FB268F-3AAA-F142-9AA5-214C3BD6DA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BF8536-5419-8648-98A1-6292D5CD68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610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4" r:id="rId1"/>
    <p:sldLayoutId id="2147485245" r:id="rId2"/>
    <p:sldLayoutId id="2147485246" r:id="rId3"/>
    <p:sldLayoutId id="2147485247" r:id="rId4"/>
    <p:sldLayoutId id="2147485248" r:id="rId5"/>
    <p:sldLayoutId id="2147485249" r:id="rId6"/>
    <p:sldLayoutId id="2147485250" r:id="rId7"/>
    <p:sldLayoutId id="2147485251" r:id="rId8"/>
    <p:sldLayoutId id="2147485252" r:id="rId9"/>
    <p:sldLayoutId id="2147485253" r:id="rId10"/>
    <p:sldLayoutId id="2147485254" r:id="rId11"/>
    <p:sldLayoutId id="2147485255" r:id="rId12"/>
    <p:sldLayoutId id="2147485256" r:id="rId13"/>
    <p:sldLayoutId id="214748525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DE23C7-78A4-413A-A84B-93D4CC0A9EB1}" type="datetimeFigureOut">
              <a:rPr lang="en-US" smtClean="0"/>
              <a:pPr/>
              <a:t>5/29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6CB39E08-E0E5-4B1A-8F7D-08FE7678A3B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600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5268" r:id="rId5"/>
    <p:sldLayoutId id="2147485269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Placeholder 2">
            <a:extLst>
              <a:ext uri="{FF2B5EF4-FFF2-40B4-BE49-F238E27FC236}">
                <a16:creationId xmlns:a16="http://schemas.microsoft.com/office/drawing/2014/main" id="{61E0FBED-F6B4-AA6A-0F2E-9592A68A423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5C9341-2692-BBE5-A821-7C73E40876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E5897CB2-916B-43E3-AA86-98F24EF225B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1028" name="Title Placeholder 7">
            <a:extLst>
              <a:ext uri="{FF2B5EF4-FFF2-40B4-BE49-F238E27FC236}">
                <a16:creationId xmlns:a16="http://schemas.microsoft.com/office/drawing/2014/main" id="{9995E540-7281-A78A-6A20-E0336C20B8C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0B18F1B-19EF-B140-A740-AF55F205D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3CA5D3-3E03-5645-A5AA-766C725022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008D50-A08E-AA43-9D25-123F50209E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2D1A2D-644A-F34B-9F14-AF4E1A289A74}" type="datetimeFigureOut">
              <a:rPr lang="en-US" smtClean="0"/>
              <a:t>5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05D17B-5701-0A4A-AD1A-38B836CC9B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08E92D-E1AF-7145-8F4F-8055FB2C24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3AAC41-88D1-7A48-9079-3C64237A17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23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g"/><Relationship Id="rId1" Type="http://schemas.openxmlformats.org/officeDocument/2006/relationships/slideLayout" Target="../slideLayouts/slideLayout24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g"/><Relationship Id="rId1" Type="http://schemas.openxmlformats.org/officeDocument/2006/relationships/slideLayout" Target="../slideLayouts/slideLayout23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3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3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g"/><Relationship Id="rId1" Type="http://schemas.openxmlformats.org/officeDocument/2006/relationships/slideLayout" Target="../slideLayouts/slideLayout24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g"/><Relationship Id="rId1" Type="http://schemas.openxmlformats.org/officeDocument/2006/relationships/slideLayout" Target="../slideLayouts/slideLayout23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g"/><Relationship Id="rId2" Type="http://schemas.openxmlformats.org/officeDocument/2006/relationships/image" Target="../media/image85.jpg"/><Relationship Id="rId1" Type="http://schemas.openxmlformats.org/officeDocument/2006/relationships/slideLayout" Target="../slideLayouts/slideLayout23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98.png"/><Relationship Id="rId18" Type="http://schemas.openxmlformats.org/officeDocument/2006/relationships/image" Target="../media/image103.png"/><Relationship Id="rId3" Type="http://schemas.openxmlformats.org/officeDocument/2006/relationships/image" Target="../media/image88.png"/><Relationship Id="rId21" Type="http://schemas.openxmlformats.org/officeDocument/2006/relationships/image" Target="../media/image106.png"/><Relationship Id="rId7" Type="http://schemas.openxmlformats.org/officeDocument/2006/relationships/image" Target="../media/image92.png"/><Relationship Id="rId12" Type="http://schemas.openxmlformats.org/officeDocument/2006/relationships/image" Target="../media/image97.png"/><Relationship Id="rId17" Type="http://schemas.openxmlformats.org/officeDocument/2006/relationships/image" Target="../media/image102.png"/><Relationship Id="rId2" Type="http://schemas.openxmlformats.org/officeDocument/2006/relationships/image" Target="../media/image87.png"/><Relationship Id="rId16" Type="http://schemas.openxmlformats.org/officeDocument/2006/relationships/image" Target="../media/image101.png"/><Relationship Id="rId20" Type="http://schemas.openxmlformats.org/officeDocument/2006/relationships/image" Target="../media/image105.png"/><Relationship Id="rId1" Type="http://schemas.openxmlformats.org/officeDocument/2006/relationships/slideLayout" Target="../slideLayouts/slideLayout238.xml"/><Relationship Id="rId6" Type="http://schemas.openxmlformats.org/officeDocument/2006/relationships/image" Target="../media/image91.png"/><Relationship Id="rId11" Type="http://schemas.openxmlformats.org/officeDocument/2006/relationships/image" Target="../media/image96.png"/><Relationship Id="rId5" Type="http://schemas.openxmlformats.org/officeDocument/2006/relationships/image" Target="../media/image90.png"/><Relationship Id="rId15" Type="http://schemas.openxmlformats.org/officeDocument/2006/relationships/image" Target="../media/image100.png"/><Relationship Id="rId10" Type="http://schemas.openxmlformats.org/officeDocument/2006/relationships/image" Target="../media/image95.png"/><Relationship Id="rId19" Type="http://schemas.openxmlformats.org/officeDocument/2006/relationships/image" Target="../media/image104.png"/><Relationship Id="rId4" Type="http://schemas.openxmlformats.org/officeDocument/2006/relationships/image" Target="../media/image89.png"/><Relationship Id="rId9" Type="http://schemas.openxmlformats.org/officeDocument/2006/relationships/image" Target="../media/image94.jpg"/><Relationship Id="rId14" Type="http://schemas.openxmlformats.org/officeDocument/2006/relationships/image" Target="../media/image9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13" Type="http://schemas.openxmlformats.org/officeDocument/2006/relationships/image" Target="../media/image97.png"/><Relationship Id="rId18" Type="http://schemas.openxmlformats.org/officeDocument/2006/relationships/image" Target="../media/image119.png"/><Relationship Id="rId26" Type="http://schemas.openxmlformats.org/officeDocument/2006/relationships/image" Target="../media/image126.jpg"/><Relationship Id="rId3" Type="http://schemas.openxmlformats.org/officeDocument/2006/relationships/image" Target="../media/image108.png"/><Relationship Id="rId21" Type="http://schemas.openxmlformats.org/officeDocument/2006/relationships/image" Target="../media/image121.png"/><Relationship Id="rId7" Type="http://schemas.openxmlformats.org/officeDocument/2006/relationships/image" Target="../media/image110.png"/><Relationship Id="rId12" Type="http://schemas.openxmlformats.org/officeDocument/2006/relationships/image" Target="../media/image96.png"/><Relationship Id="rId17" Type="http://schemas.openxmlformats.org/officeDocument/2006/relationships/image" Target="../media/image118.png"/><Relationship Id="rId25" Type="http://schemas.openxmlformats.org/officeDocument/2006/relationships/image" Target="../media/image125.png"/><Relationship Id="rId2" Type="http://schemas.openxmlformats.org/officeDocument/2006/relationships/image" Target="../media/image107.jpg"/><Relationship Id="rId16" Type="http://schemas.openxmlformats.org/officeDocument/2006/relationships/image" Target="../media/image117.png"/><Relationship Id="rId20" Type="http://schemas.openxmlformats.org/officeDocument/2006/relationships/image" Target="../media/image120.png"/><Relationship Id="rId1" Type="http://schemas.openxmlformats.org/officeDocument/2006/relationships/slideLayout" Target="../slideLayouts/slideLayout238.xml"/><Relationship Id="rId6" Type="http://schemas.openxmlformats.org/officeDocument/2006/relationships/image" Target="../media/image109.png"/><Relationship Id="rId11" Type="http://schemas.openxmlformats.org/officeDocument/2006/relationships/image" Target="../media/image114.png"/><Relationship Id="rId24" Type="http://schemas.openxmlformats.org/officeDocument/2006/relationships/image" Target="../media/image124.png"/><Relationship Id="rId5" Type="http://schemas.openxmlformats.org/officeDocument/2006/relationships/image" Target="../media/image89.png"/><Relationship Id="rId15" Type="http://schemas.openxmlformats.org/officeDocument/2006/relationships/image" Target="../media/image116.png"/><Relationship Id="rId23" Type="http://schemas.openxmlformats.org/officeDocument/2006/relationships/image" Target="../media/image123.jpg"/><Relationship Id="rId28" Type="http://schemas.openxmlformats.org/officeDocument/2006/relationships/image" Target="../media/image128.jpg"/><Relationship Id="rId10" Type="http://schemas.openxmlformats.org/officeDocument/2006/relationships/image" Target="../media/image113.jpg"/><Relationship Id="rId19" Type="http://schemas.openxmlformats.org/officeDocument/2006/relationships/image" Target="../media/image103.png"/><Relationship Id="rId4" Type="http://schemas.openxmlformats.org/officeDocument/2006/relationships/image" Target="../media/image88.png"/><Relationship Id="rId9" Type="http://schemas.openxmlformats.org/officeDocument/2006/relationships/image" Target="../media/image112.png"/><Relationship Id="rId14" Type="http://schemas.openxmlformats.org/officeDocument/2006/relationships/image" Target="../media/image115.png"/><Relationship Id="rId22" Type="http://schemas.openxmlformats.org/officeDocument/2006/relationships/image" Target="../media/image122.png"/><Relationship Id="rId27" Type="http://schemas.openxmlformats.org/officeDocument/2006/relationships/image" Target="../media/image12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29.png"/><Relationship Id="rId1" Type="http://schemas.openxmlformats.org/officeDocument/2006/relationships/slideLayout" Target="../slideLayouts/slideLayout248.xml"/><Relationship Id="rId5" Type="http://schemas.openxmlformats.org/officeDocument/2006/relationships/image" Target="../media/image132.png"/><Relationship Id="rId4" Type="http://schemas.openxmlformats.org/officeDocument/2006/relationships/image" Target="../media/image1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24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jpg"/><Relationship Id="rId2" Type="http://schemas.openxmlformats.org/officeDocument/2006/relationships/image" Target="../media/image133.jpg"/><Relationship Id="rId1" Type="http://schemas.openxmlformats.org/officeDocument/2006/relationships/slideLayout" Target="../slideLayouts/slideLayout248.xml"/><Relationship Id="rId5" Type="http://schemas.openxmlformats.org/officeDocument/2006/relationships/image" Target="../media/image136.jpg"/><Relationship Id="rId4" Type="http://schemas.openxmlformats.org/officeDocument/2006/relationships/image" Target="../media/image135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jpg"/><Relationship Id="rId2" Type="http://schemas.openxmlformats.org/officeDocument/2006/relationships/image" Target="../media/image137.jpg"/><Relationship Id="rId1" Type="http://schemas.openxmlformats.org/officeDocument/2006/relationships/slideLayout" Target="../slideLayouts/slideLayout248.xml"/><Relationship Id="rId4" Type="http://schemas.openxmlformats.org/officeDocument/2006/relationships/image" Target="../media/image139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jpg"/><Relationship Id="rId2" Type="http://schemas.openxmlformats.org/officeDocument/2006/relationships/image" Target="../media/image140.jpg"/><Relationship Id="rId1" Type="http://schemas.openxmlformats.org/officeDocument/2006/relationships/slideLayout" Target="../slideLayouts/slideLayout248.xml"/><Relationship Id="rId5" Type="http://schemas.openxmlformats.org/officeDocument/2006/relationships/image" Target="../media/image143.jpg"/><Relationship Id="rId4" Type="http://schemas.openxmlformats.org/officeDocument/2006/relationships/image" Target="../media/image142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jpg"/><Relationship Id="rId7" Type="http://schemas.openxmlformats.org/officeDocument/2006/relationships/image" Target="../media/image149.jpg"/><Relationship Id="rId2" Type="http://schemas.openxmlformats.org/officeDocument/2006/relationships/image" Target="../media/image144.jpg"/><Relationship Id="rId1" Type="http://schemas.openxmlformats.org/officeDocument/2006/relationships/slideLayout" Target="../slideLayouts/slideLayout248.xml"/><Relationship Id="rId6" Type="http://schemas.openxmlformats.org/officeDocument/2006/relationships/image" Target="../media/image148.jpg"/><Relationship Id="rId5" Type="http://schemas.openxmlformats.org/officeDocument/2006/relationships/image" Target="../media/image147.jpg"/><Relationship Id="rId4" Type="http://schemas.openxmlformats.org/officeDocument/2006/relationships/image" Target="../media/image146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jpg"/><Relationship Id="rId2" Type="http://schemas.openxmlformats.org/officeDocument/2006/relationships/slideLayout" Target="../slideLayouts/slideLayout249.xml"/><Relationship Id="rId1" Type="http://schemas.openxmlformats.org/officeDocument/2006/relationships/video" Target="https://www.youtube.com/embed/GbLTugkCX_w?feature=oembed" TargetMode="External"/><Relationship Id="rId5" Type="http://schemas.openxmlformats.org/officeDocument/2006/relationships/image" Target="../media/image152.jpeg"/><Relationship Id="rId4" Type="http://schemas.openxmlformats.org/officeDocument/2006/relationships/image" Target="../media/image151.jp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0.jpg"/><Relationship Id="rId1" Type="http://schemas.openxmlformats.org/officeDocument/2006/relationships/slideLayout" Target="../slideLayouts/slideLayout24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image" Target="../media/image153.jpg"/><Relationship Id="rId1" Type="http://schemas.openxmlformats.org/officeDocument/2006/relationships/slideLayout" Target="../slideLayouts/slideLayout248.xml"/><Relationship Id="rId5" Type="http://schemas.openxmlformats.org/officeDocument/2006/relationships/image" Target="../media/image156.jpg"/><Relationship Id="rId4" Type="http://schemas.openxmlformats.org/officeDocument/2006/relationships/image" Target="../media/image155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24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jpeg"/><Relationship Id="rId2" Type="http://schemas.openxmlformats.org/officeDocument/2006/relationships/image" Target="../media/image158.jpg"/><Relationship Id="rId1" Type="http://schemas.openxmlformats.org/officeDocument/2006/relationships/slideLayout" Target="../slideLayouts/slideLayout248.xml"/><Relationship Id="rId5" Type="http://schemas.openxmlformats.org/officeDocument/2006/relationships/image" Target="../media/image161.png"/><Relationship Id="rId4" Type="http://schemas.openxmlformats.org/officeDocument/2006/relationships/image" Target="../media/image16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png"/><Relationship Id="rId2" Type="http://schemas.microsoft.com/office/2011/relationships/webextension" Target="../webextensions/webextension1.xml"/><Relationship Id="rId1" Type="http://schemas.openxmlformats.org/officeDocument/2006/relationships/slideLayout" Target="../slideLayouts/slideLayout24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hyperlink" Target="http://www.cdc.gov/sids/case-registry.htm" TargetMode="External"/><Relationship Id="rId1" Type="http://schemas.openxmlformats.org/officeDocument/2006/relationships/slideLayout" Target="../slideLayouts/slideLayout23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4.png"/><Relationship Id="rId13" Type="http://schemas.openxmlformats.org/officeDocument/2006/relationships/image" Target="../media/image115.png"/><Relationship Id="rId18" Type="http://schemas.openxmlformats.org/officeDocument/2006/relationships/image" Target="../media/image103.png"/><Relationship Id="rId26" Type="http://schemas.openxmlformats.org/officeDocument/2006/relationships/image" Target="../media/image167.jpg"/><Relationship Id="rId3" Type="http://schemas.openxmlformats.org/officeDocument/2006/relationships/image" Target="../media/image88.png"/><Relationship Id="rId21" Type="http://schemas.openxmlformats.org/officeDocument/2006/relationships/image" Target="../media/image122.png"/><Relationship Id="rId7" Type="http://schemas.openxmlformats.org/officeDocument/2006/relationships/image" Target="../media/image111.png"/><Relationship Id="rId12" Type="http://schemas.openxmlformats.org/officeDocument/2006/relationships/image" Target="../media/image97.png"/><Relationship Id="rId17" Type="http://schemas.openxmlformats.org/officeDocument/2006/relationships/image" Target="../media/image119.png"/><Relationship Id="rId25" Type="http://schemas.openxmlformats.org/officeDocument/2006/relationships/hyperlink" Target="mailto:gina_lowell@rush.edu" TargetMode="External"/><Relationship Id="rId2" Type="http://schemas.openxmlformats.org/officeDocument/2006/relationships/image" Target="../media/image163.png"/><Relationship Id="rId16" Type="http://schemas.openxmlformats.org/officeDocument/2006/relationships/image" Target="../media/image166.png"/><Relationship Id="rId20" Type="http://schemas.openxmlformats.org/officeDocument/2006/relationships/image" Target="../media/image121.png"/><Relationship Id="rId29" Type="http://schemas.openxmlformats.org/officeDocument/2006/relationships/image" Target="../media/image170.png"/><Relationship Id="rId1" Type="http://schemas.openxmlformats.org/officeDocument/2006/relationships/slideLayout" Target="../slideLayouts/slideLayout238.xml"/><Relationship Id="rId6" Type="http://schemas.openxmlformats.org/officeDocument/2006/relationships/image" Target="../media/image110.png"/><Relationship Id="rId11" Type="http://schemas.openxmlformats.org/officeDocument/2006/relationships/image" Target="../media/image96.png"/><Relationship Id="rId24" Type="http://schemas.openxmlformats.org/officeDocument/2006/relationships/hyperlink" Target="mailto:christie_lawrence@rush.edu" TargetMode="External"/><Relationship Id="rId5" Type="http://schemas.openxmlformats.org/officeDocument/2006/relationships/image" Target="../media/image109.png"/><Relationship Id="rId15" Type="http://schemas.openxmlformats.org/officeDocument/2006/relationships/image" Target="../media/image117.png"/><Relationship Id="rId23" Type="http://schemas.openxmlformats.org/officeDocument/2006/relationships/hyperlink" Target="mailto:feliciaclark798@yahoo.com" TargetMode="External"/><Relationship Id="rId28" Type="http://schemas.openxmlformats.org/officeDocument/2006/relationships/image" Target="../media/image169.png"/><Relationship Id="rId10" Type="http://schemas.openxmlformats.org/officeDocument/2006/relationships/image" Target="../media/image165.png"/><Relationship Id="rId19" Type="http://schemas.openxmlformats.org/officeDocument/2006/relationships/image" Target="../media/image120.png"/><Relationship Id="rId31" Type="http://schemas.openxmlformats.org/officeDocument/2006/relationships/image" Target="../media/image171.png"/><Relationship Id="rId4" Type="http://schemas.openxmlformats.org/officeDocument/2006/relationships/image" Target="../media/image89.png"/><Relationship Id="rId9" Type="http://schemas.openxmlformats.org/officeDocument/2006/relationships/image" Target="../media/image113.jpg"/><Relationship Id="rId14" Type="http://schemas.openxmlformats.org/officeDocument/2006/relationships/image" Target="../media/image116.png"/><Relationship Id="rId22" Type="http://schemas.openxmlformats.org/officeDocument/2006/relationships/hyperlink" Target="mailto:seyedeh_r_ahadi@rush.edu" TargetMode="External"/><Relationship Id="rId27" Type="http://schemas.openxmlformats.org/officeDocument/2006/relationships/image" Target="../media/image168.jpeg"/><Relationship Id="rId30" Type="http://schemas.openxmlformats.org/officeDocument/2006/relationships/image" Target="../media/image128.jp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8.png"/><Relationship Id="rId13" Type="http://schemas.openxmlformats.org/officeDocument/2006/relationships/image" Target="../media/image183.png"/><Relationship Id="rId3" Type="http://schemas.openxmlformats.org/officeDocument/2006/relationships/image" Target="../media/image173.emf"/><Relationship Id="rId7" Type="http://schemas.openxmlformats.org/officeDocument/2006/relationships/image" Target="../media/image177.gif"/><Relationship Id="rId12" Type="http://schemas.openxmlformats.org/officeDocument/2006/relationships/image" Target="../media/image182.jpeg"/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269.xml"/><Relationship Id="rId6" Type="http://schemas.openxmlformats.org/officeDocument/2006/relationships/image" Target="../media/image176.png"/><Relationship Id="rId11" Type="http://schemas.openxmlformats.org/officeDocument/2006/relationships/image" Target="../media/image181.jpeg"/><Relationship Id="rId5" Type="http://schemas.openxmlformats.org/officeDocument/2006/relationships/image" Target="../media/image175.png"/><Relationship Id="rId15" Type="http://schemas.openxmlformats.org/officeDocument/2006/relationships/image" Target="../media/image185.png"/><Relationship Id="rId10" Type="http://schemas.openxmlformats.org/officeDocument/2006/relationships/image" Target="../media/image180.png"/><Relationship Id="rId4" Type="http://schemas.openxmlformats.org/officeDocument/2006/relationships/image" Target="../media/image174.jpg"/><Relationship Id="rId9" Type="http://schemas.openxmlformats.org/officeDocument/2006/relationships/image" Target="../media/image179.png"/><Relationship Id="rId14" Type="http://schemas.openxmlformats.org/officeDocument/2006/relationships/image" Target="../media/image18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emf"/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27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png"/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270.xml"/><Relationship Id="rId5" Type="http://schemas.openxmlformats.org/officeDocument/2006/relationships/image" Target="../media/image190.png"/><Relationship Id="rId4" Type="http://schemas.openxmlformats.org/officeDocument/2006/relationships/image" Target="../media/image18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png"/><Relationship Id="rId2" Type="http://schemas.openxmlformats.org/officeDocument/2006/relationships/image" Target="../media/image191.png"/><Relationship Id="rId1" Type="http://schemas.openxmlformats.org/officeDocument/2006/relationships/slideLayout" Target="../slideLayouts/slideLayout270.xml"/><Relationship Id="rId4" Type="http://schemas.openxmlformats.org/officeDocument/2006/relationships/image" Target="../media/image189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png"/><Relationship Id="rId1" Type="http://schemas.openxmlformats.org/officeDocument/2006/relationships/slideLayout" Target="../slideLayouts/slideLayout26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4.png"/><Relationship Id="rId1" Type="http://schemas.openxmlformats.org/officeDocument/2006/relationships/slideLayout" Target="../slideLayouts/slideLayout27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g"/><Relationship Id="rId1" Type="http://schemas.openxmlformats.org/officeDocument/2006/relationships/slideLayout" Target="../slideLayouts/slideLayout248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0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0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5.png"/><Relationship Id="rId1" Type="http://schemas.openxmlformats.org/officeDocument/2006/relationships/slideLayout" Target="../slideLayouts/slideLayout27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jpeg"/><Relationship Id="rId2" Type="http://schemas.openxmlformats.org/officeDocument/2006/relationships/image" Target="../media/image196.jpeg"/><Relationship Id="rId1" Type="http://schemas.openxmlformats.org/officeDocument/2006/relationships/slideLayout" Target="../slideLayouts/slideLayout275.xml"/><Relationship Id="rId4" Type="http://schemas.openxmlformats.org/officeDocument/2006/relationships/image" Target="../media/image198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png"/><Relationship Id="rId2" Type="http://schemas.openxmlformats.org/officeDocument/2006/relationships/image" Target="../media/image199.emf"/><Relationship Id="rId1" Type="http://schemas.openxmlformats.org/officeDocument/2006/relationships/slideLayout" Target="../slideLayouts/slideLayout27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1.png"/><Relationship Id="rId1" Type="http://schemas.openxmlformats.org/officeDocument/2006/relationships/slideLayout" Target="../slideLayouts/slideLayout26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2.png"/><Relationship Id="rId1" Type="http://schemas.openxmlformats.org/officeDocument/2006/relationships/slideLayout" Target="../slideLayouts/slideLayout26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3.png"/><Relationship Id="rId2" Type="http://schemas.openxmlformats.org/officeDocument/2006/relationships/oleObject" Target="../embeddings/oleObject7.bin"/><Relationship Id="rId1" Type="http://schemas.openxmlformats.org/officeDocument/2006/relationships/slideLayout" Target="../slideLayouts/slideLayout26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jpeg"/><Relationship Id="rId2" Type="http://schemas.openxmlformats.org/officeDocument/2006/relationships/image" Target="../media/image204.png"/><Relationship Id="rId1" Type="http://schemas.openxmlformats.org/officeDocument/2006/relationships/slideLayout" Target="../slideLayouts/slideLayout26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g"/><Relationship Id="rId2" Type="http://schemas.openxmlformats.org/officeDocument/2006/relationships/image" Target="../media/image72.jpg"/><Relationship Id="rId1" Type="http://schemas.openxmlformats.org/officeDocument/2006/relationships/slideLayout" Target="../slideLayouts/slideLayout249.xml"/><Relationship Id="rId4" Type="http://schemas.openxmlformats.org/officeDocument/2006/relationships/image" Target="../media/image74.jp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6.png"/><Relationship Id="rId1" Type="http://schemas.openxmlformats.org/officeDocument/2006/relationships/slideLayout" Target="../slideLayouts/slideLayout268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6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1.png"/><Relationship Id="rId2" Type="http://schemas.openxmlformats.org/officeDocument/2006/relationships/image" Target="../media/image210.png"/><Relationship Id="rId1" Type="http://schemas.openxmlformats.org/officeDocument/2006/relationships/slideLayout" Target="../slideLayouts/slideLayout268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1.png"/><Relationship Id="rId1" Type="http://schemas.openxmlformats.org/officeDocument/2006/relationships/slideLayout" Target="../slideLayouts/slideLayout268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2.png"/><Relationship Id="rId1" Type="http://schemas.openxmlformats.org/officeDocument/2006/relationships/slideLayout" Target="../slideLayouts/slideLayout268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8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8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3.png"/><Relationship Id="rId1" Type="http://schemas.openxmlformats.org/officeDocument/2006/relationships/slideLayout" Target="../slideLayouts/slideLayout268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5.png"/><Relationship Id="rId2" Type="http://schemas.openxmlformats.org/officeDocument/2006/relationships/image" Target="../media/image214.png"/><Relationship Id="rId1" Type="http://schemas.openxmlformats.org/officeDocument/2006/relationships/slideLayout" Target="../slideLayouts/slideLayout26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8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7.png"/><Relationship Id="rId2" Type="http://schemas.openxmlformats.org/officeDocument/2006/relationships/image" Target="../media/image216.png"/><Relationship Id="rId1" Type="http://schemas.openxmlformats.org/officeDocument/2006/relationships/slideLayout" Target="../slideLayouts/slideLayout268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8.png"/><Relationship Id="rId1" Type="http://schemas.openxmlformats.org/officeDocument/2006/relationships/slideLayout" Target="../slideLayouts/slideLayout268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8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9.png"/><Relationship Id="rId1" Type="http://schemas.openxmlformats.org/officeDocument/2006/relationships/slideLayout" Target="../slideLayouts/slideLayout268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0.png"/><Relationship Id="rId1" Type="http://schemas.openxmlformats.org/officeDocument/2006/relationships/slideLayout" Target="../slideLayouts/slideLayout268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1.png"/><Relationship Id="rId1" Type="http://schemas.openxmlformats.org/officeDocument/2006/relationships/slideLayout" Target="../slideLayouts/slideLayout268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1.png"/><Relationship Id="rId2" Type="http://schemas.openxmlformats.org/officeDocument/2006/relationships/image" Target="../media/image222.png"/><Relationship Id="rId1" Type="http://schemas.openxmlformats.org/officeDocument/2006/relationships/slideLayout" Target="../slideLayouts/slideLayout268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8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8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3.jpeg"/><Relationship Id="rId1" Type="http://schemas.openxmlformats.org/officeDocument/2006/relationships/slideLayout" Target="../slideLayouts/slideLayout9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g"/><Relationship Id="rId1" Type="http://schemas.openxmlformats.org/officeDocument/2006/relationships/slideLayout" Target="../slideLayouts/slideLayout24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g"/><Relationship Id="rId1" Type="http://schemas.openxmlformats.org/officeDocument/2006/relationships/slideLayout" Target="../slideLayouts/slideLayout24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8970" y="-307063"/>
            <a:ext cx="9473355" cy="1861508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  <a:ea typeface="+mj-lt"/>
                <a:cs typeface="+mj-lt"/>
              </a:rPr>
              <a:t>Promoting Safe Sleep in Illinois Hospitals</a:t>
            </a:r>
            <a:r>
              <a:rPr lang="en-US" dirty="0">
                <a:solidFill>
                  <a:schemeClr val="accent1"/>
                </a:solidFill>
                <a:ea typeface="+mj-lt"/>
                <a:cs typeface="+mj-lt"/>
              </a:rPr>
              <a:t> </a:t>
            </a:r>
            <a:endParaRPr lang="en-US" b="0" dirty="0">
              <a:solidFill>
                <a:schemeClr val="accent1"/>
              </a:solidFill>
              <a:ea typeface="+mj-lt"/>
              <a:cs typeface="+mj-lt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9922563-64D6-2A4E-B048-13AC25DB45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52041" y="4017028"/>
            <a:ext cx="10434648" cy="197130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ea typeface="+mn-lt"/>
                <a:cs typeface="+mn-lt"/>
              </a:rPr>
              <a:t>Gina Lowell, MD, MPH</a:t>
            </a:r>
            <a:endParaRPr lang="en-US" dirty="0">
              <a:ea typeface="+mn-lt"/>
              <a:cs typeface="+mn-lt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ea typeface="+mn-lt"/>
                <a:cs typeface="+mn-lt"/>
              </a:rPr>
              <a:t>Principal Investigator for the Cook County SUID Case Registry</a:t>
            </a:r>
            <a:endParaRPr lang="en-US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ea typeface="+mn-lt"/>
                <a:cs typeface="+mn-lt"/>
              </a:rPr>
              <a:t>Associate Professor, Department of Pediatrics, RUSH University Children’s Hospital</a:t>
            </a:r>
            <a:endParaRPr lang="en-US" sz="2100" dirty="0">
              <a:ea typeface="Calibri"/>
              <a:cs typeface="Calibr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566C3A-8885-6DBF-FA71-CAB4135D8331}"/>
              </a:ext>
            </a:extLst>
          </p:cNvPr>
          <p:cNvSpPr txBox="1"/>
          <p:nvPr/>
        </p:nvSpPr>
        <p:spPr>
          <a:xfrm>
            <a:off x="1345721" y="2596550"/>
            <a:ext cx="12577312" cy="143116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>
                <a:ea typeface="+mn-lt"/>
                <a:cs typeface="+mn-lt"/>
              </a:rPr>
              <a:t>Christie Lawrence, DNP, RNC-NIC, APN/CNS ​</a:t>
            </a:r>
          </a:p>
          <a:p>
            <a:pPr>
              <a:buClr>
                <a:schemeClr val="accent2"/>
              </a:buClr>
            </a:pPr>
            <a:r>
              <a:rPr lang="en-US" sz="2100" dirty="0">
                <a:ea typeface="Lato"/>
                <a:cs typeface="Lato"/>
              </a:rPr>
              <a:t>Cook County Birth Hospital Outreach Coordinator for the Cook County SUID Case Registry</a:t>
            </a:r>
          </a:p>
          <a:p>
            <a:pPr>
              <a:buClr>
                <a:schemeClr val="accent2"/>
              </a:buClr>
            </a:pPr>
            <a:r>
              <a:rPr lang="en-US" sz="2100" dirty="0">
                <a:ea typeface="Lato"/>
                <a:cs typeface="Lato"/>
              </a:rPr>
              <a:t>Assistant Professor, Department of Women, Children &amp; Family Nursing</a:t>
            </a:r>
          </a:p>
          <a:p>
            <a:pPr>
              <a:buClr>
                <a:schemeClr val="accent2"/>
              </a:buClr>
            </a:pPr>
            <a:r>
              <a:rPr lang="en-US" sz="2100" dirty="0">
                <a:ea typeface="Lato"/>
                <a:cs typeface="Lato"/>
              </a:rPr>
              <a:t>Rush University College of Nurs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96E8510-9575-F087-0FA0-E6444BE60724}"/>
              </a:ext>
            </a:extLst>
          </p:cNvPr>
          <p:cNvSpPr txBox="1"/>
          <p:nvPr/>
        </p:nvSpPr>
        <p:spPr>
          <a:xfrm>
            <a:off x="1345721" y="1949569"/>
            <a:ext cx="8379124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100" dirty="0">
                <a:ea typeface="Lato"/>
                <a:cs typeface="Lato"/>
              </a:rPr>
              <a:t>Assistant Professor of Pediatrics, Division of Newborn Medicine​</a:t>
            </a:r>
          </a:p>
          <a:p>
            <a:r>
              <a:rPr lang="en-US" sz="2100" dirty="0">
                <a:ea typeface="Lato"/>
                <a:cs typeface="Lato"/>
              </a:rPr>
              <a:t>Washington University in St. Louis School of Medicin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917A07-0349-9965-3D28-E18E8564C79F}"/>
              </a:ext>
            </a:extLst>
          </p:cNvPr>
          <p:cNvSpPr txBox="1"/>
          <p:nvPr/>
        </p:nvSpPr>
        <p:spPr>
          <a:xfrm>
            <a:off x="1345721" y="1547003"/>
            <a:ext cx="6107501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ea typeface="+mn-lt"/>
                <a:cs typeface="+mn-lt"/>
              </a:rPr>
              <a:t>Bryanne N Colvin, MD</a:t>
            </a:r>
          </a:p>
        </p:txBody>
      </p:sp>
    </p:spTree>
    <p:extLst>
      <p:ext uri="{BB962C8B-B14F-4D97-AF65-F5344CB8AC3E}">
        <p14:creationId xmlns:p14="http://schemas.microsoft.com/office/powerpoint/2010/main" val="37175254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744370" y="6421628"/>
            <a:ext cx="270383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SUID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ok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unty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ase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Registry</a:t>
            </a:r>
            <a:r>
              <a:rPr sz="1200" spc="-3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 spc="-10">
                <a:solidFill>
                  <a:srgbClr val="898989"/>
                </a:solidFill>
                <a:latin typeface="Calibri"/>
                <a:cs typeface="Calibri"/>
              </a:rPr>
              <a:t>2019-</a:t>
            </a:r>
            <a:r>
              <a:rPr sz="1200" spc="-20">
                <a:solidFill>
                  <a:srgbClr val="898989"/>
                </a:solidFill>
                <a:latin typeface="Calibri"/>
                <a:cs typeface="Calibri"/>
              </a:rPr>
              <a:t>2022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6641629"/>
            <a:ext cx="12188825" cy="216535"/>
          </a:xfrm>
          <a:custGeom>
            <a:avLst/>
            <a:gdLst/>
            <a:ahLst/>
            <a:cxnLst/>
            <a:rect l="l" t="t" r="r" b="b"/>
            <a:pathLst>
              <a:path w="12188825" h="216534">
                <a:moveTo>
                  <a:pt x="12188825" y="0"/>
                </a:moveTo>
                <a:lnTo>
                  <a:pt x="0" y="0"/>
                </a:lnTo>
                <a:lnTo>
                  <a:pt x="0" y="216369"/>
                </a:lnTo>
                <a:lnTo>
                  <a:pt x="12188825" y="216369"/>
                </a:lnTo>
                <a:lnTo>
                  <a:pt x="12188825" y="0"/>
                </a:lnTo>
                <a:close/>
              </a:path>
            </a:pathLst>
          </a:custGeom>
          <a:solidFill>
            <a:srgbClr val="00B5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47061" y="244636"/>
            <a:ext cx="9181878" cy="691470"/>
          </a:xfrm>
          <a:prstGeom prst="rect">
            <a:avLst/>
          </a:prstGeom>
        </p:spPr>
        <p:txBody>
          <a:bodyPr vert="horz" wrap="square" lIns="0" tIns="306323" rIns="0" bIns="0" rtlCol="0">
            <a:spAutoFit/>
          </a:bodyPr>
          <a:lstStyle/>
          <a:p>
            <a:pPr marL="3364865">
              <a:lnSpc>
                <a:spcPct val="100000"/>
              </a:lnSpc>
              <a:spcBef>
                <a:spcPts val="100"/>
              </a:spcBef>
            </a:pPr>
            <a:r>
              <a:rPr sz="2400" b="1" spc="-10" dirty="0">
                <a:solidFill>
                  <a:srgbClr val="006232"/>
                </a:solidFill>
                <a:latin typeface="Arial"/>
                <a:cs typeface="Arial"/>
              </a:rPr>
              <a:t>Sleep-</a:t>
            </a:r>
            <a:r>
              <a:rPr sz="2400" b="1" dirty="0">
                <a:solidFill>
                  <a:srgbClr val="006232"/>
                </a:solidFill>
                <a:latin typeface="Arial"/>
                <a:cs typeface="Arial"/>
              </a:rPr>
              <a:t>related</a:t>
            </a:r>
            <a:r>
              <a:rPr sz="2400" b="1" spc="-65" dirty="0">
                <a:solidFill>
                  <a:srgbClr val="006232"/>
                </a:solidFill>
                <a:latin typeface="Arial"/>
                <a:cs typeface="Arial"/>
              </a:rPr>
              <a:t> </a:t>
            </a:r>
            <a:r>
              <a:rPr sz="2400" b="1" dirty="0">
                <a:solidFill>
                  <a:srgbClr val="006232"/>
                </a:solidFill>
                <a:latin typeface="Arial"/>
                <a:cs typeface="Arial"/>
              </a:rPr>
              <a:t>SUID</a:t>
            </a:r>
            <a:r>
              <a:rPr sz="2400" b="1" spc="-55" dirty="0">
                <a:solidFill>
                  <a:srgbClr val="006232"/>
                </a:solidFill>
                <a:latin typeface="Arial"/>
                <a:cs typeface="Arial"/>
              </a:rPr>
              <a:t> </a:t>
            </a:r>
            <a:r>
              <a:rPr sz="2400" b="1" dirty="0">
                <a:solidFill>
                  <a:srgbClr val="006232"/>
                </a:solidFill>
                <a:latin typeface="Arial"/>
                <a:cs typeface="Arial"/>
              </a:rPr>
              <a:t>by</a:t>
            </a:r>
            <a:r>
              <a:rPr sz="2400" b="1" spc="-130" dirty="0">
                <a:solidFill>
                  <a:srgbClr val="006232"/>
                </a:solidFill>
                <a:latin typeface="Arial"/>
                <a:cs typeface="Arial"/>
              </a:rPr>
              <a:t> </a:t>
            </a:r>
            <a:r>
              <a:rPr sz="2400" b="1" dirty="0">
                <a:solidFill>
                  <a:srgbClr val="006232"/>
                </a:solidFill>
                <a:latin typeface="Arial"/>
                <a:cs typeface="Arial"/>
              </a:rPr>
              <a:t>Age</a:t>
            </a:r>
            <a:r>
              <a:rPr sz="2400" b="1" spc="-50" dirty="0">
                <a:solidFill>
                  <a:srgbClr val="006232"/>
                </a:solidFill>
                <a:latin typeface="Arial"/>
                <a:cs typeface="Arial"/>
              </a:rPr>
              <a:t> </a:t>
            </a:r>
            <a:r>
              <a:rPr sz="2400" b="1" spc="-10" dirty="0">
                <a:solidFill>
                  <a:srgbClr val="006232"/>
                </a:solidFill>
                <a:latin typeface="Arial"/>
                <a:cs typeface="Arial"/>
              </a:rPr>
              <a:t>(months)</a:t>
            </a:r>
            <a:endParaRPr sz="2400" dirty="0">
              <a:latin typeface="Arial"/>
              <a:cs typeface="Arial"/>
            </a:endParaRPr>
          </a:p>
        </p:txBody>
      </p:sp>
      <p:pic>
        <p:nvPicPr>
          <p:cNvPr id="5" name="object 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749969" y="1142682"/>
            <a:ext cx="6692061" cy="5213667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744370" y="6421628"/>
            <a:ext cx="270383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SUID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ok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unty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ase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Registry</a:t>
            </a:r>
            <a:r>
              <a:rPr sz="1200" spc="-3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 spc="-10">
                <a:solidFill>
                  <a:srgbClr val="898989"/>
                </a:solidFill>
                <a:latin typeface="Calibri"/>
                <a:cs typeface="Calibri"/>
              </a:rPr>
              <a:t>2019-</a:t>
            </a:r>
            <a:r>
              <a:rPr sz="1200" spc="-20">
                <a:solidFill>
                  <a:srgbClr val="898989"/>
                </a:solidFill>
                <a:latin typeface="Calibri"/>
                <a:cs typeface="Calibri"/>
              </a:rPr>
              <a:t>2022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6641629"/>
            <a:ext cx="12188825" cy="216535"/>
          </a:xfrm>
          <a:custGeom>
            <a:avLst/>
            <a:gdLst/>
            <a:ahLst/>
            <a:cxnLst/>
            <a:rect l="l" t="t" r="r" b="b"/>
            <a:pathLst>
              <a:path w="12188825" h="216534">
                <a:moveTo>
                  <a:pt x="12188825" y="0"/>
                </a:moveTo>
                <a:lnTo>
                  <a:pt x="0" y="0"/>
                </a:lnTo>
                <a:lnTo>
                  <a:pt x="0" y="216369"/>
                </a:lnTo>
                <a:lnTo>
                  <a:pt x="12188825" y="216369"/>
                </a:lnTo>
                <a:lnTo>
                  <a:pt x="12188825" y="0"/>
                </a:lnTo>
                <a:close/>
              </a:path>
            </a:pathLst>
          </a:custGeom>
          <a:solidFill>
            <a:srgbClr val="00B58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" name="object 4"/>
          <p:cNvGrpSpPr/>
          <p:nvPr/>
        </p:nvGrpSpPr>
        <p:grpSpPr>
          <a:xfrm>
            <a:off x="2982912" y="2215758"/>
            <a:ext cx="6134735" cy="1939925"/>
            <a:chOff x="2982912" y="2215758"/>
            <a:chExt cx="6134735" cy="1939925"/>
          </a:xfrm>
        </p:grpSpPr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982912" y="2412274"/>
              <a:ext cx="6134214" cy="1742956"/>
            </a:xfrm>
            <a:prstGeom prst="rect">
              <a:avLst/>
            </a:prstGeom>
          </p:spPr>
        </p:pic>
        <p:sp>
          <p:nvSpPr>
            <p:cNvPr id="6" name="object 6"/>
            <p:cNvSpPr/>
            <p:nvPr/>
          </p:nvSpPr>
          <p:spPr>
            <a:xfrm>
              <a:off x="3367181" y="2215758"/>
              <a:ext cx="2343150" cy="1939289"/>
            </a:xfrm>
            <a:custGeom>
              <a:avLst/>
              <a:gdLst/>
              <a:ahLst/>
              <a:cxnLst/>
              <a:rect l="l" t="t" r="r" b="b"/>
              <a:pathLst>
                <a:path w="2343150" h="1939289">
                  <a:moveTo>
                    <a:pt x="2342960" y="0"/>
                  </a:moveTo>
                  <a:lnTo>
                    <a:pt x="0" y="0"/>
                  </a:lnTo>
                  <a:lnTo>
                    <a:pt x="0" y="1938991"/>
                  </a:lnTo>
                  <a:lnTo>
                    <a:pt x="2342960" y="1938991"/>
                  </a:lnTo>
                  <a:lnTo>
                    <a:pt x="234296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540422" y="532891"/>
            <a:ext cx="266890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>
                <a:solidFill>
                  <a:srgbClr val="006232"/>
                </a:solidFill>
                <a:latin typeface="Arial"/>
                <a:cs typeface="Arial"/>
              </a:rPr>
              <a:t>SUID</a:t>
            </a:r>
            <a:r>
              <a:rPr sz="2400" b="1" spc="-65">
                <a:solidFill>
                  <a:srgbClr val="006232"/>
                </a:solidFill>
                <a:latin typeface="Arial"/>
                <a:cs typeface="Arial"/>
              </a:rPr>
              <a:t> </a:t>
            </a:r>
            <a:r>
              <a:rPr sz="2400" b="1">
                <a:solidFill>
                  <a:srgbClr val="006232"/>
                </a:solidFill>
                <a:latin typeface="Arial"/>
                <a:cs typeface="Arial"/>
              </a:rPr>
              <a:t>Risk</a:t>
            </a:r>
            <a:r>
              <a:rPr sz="2400" b="1" spc="-65">
                <a:solidFill>
                  <a:srgbClr val="006232"/>
                </a:solidFill>
                <a:latin typeface="Arial"/>
                <a:cs typeface="Arial"/>
              </a:rPr>
              <a:t> </a:t>
            </a:r>
            <a:r>
              <a:rPr sz="2400" b="1" spc="-10">
                <a:solidFill>
                  <a:srgbClr val="006232"/>
                </a:solidFill>
                <a:latin typeface="Arial"/>
                <a:cs typeface="Arial"/>
              </a:rPr>
              <a:t>Factors</a:t>
            </a:r>
            <a:endParaRPr sz="24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445921" y="1974596"/>
            <a:ext cx="2076450" cy="2117725"/>
          </a:xfrm>
          <a:prstGeom prst="rect">
            <a:avLst/>
          </a:prstGeom>
        </p:spPr>
        <p:txBody>
          <a:bodyPr vert="horz" wrap="square" lIns="0" tIns="22288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755"/>
              </a:spcBef>
            </a:pPr>
            <a:r>
              <a:rPr sz="7200" b="1" spc="-25">
                <a:solidFill>
                  <a:srgbClr val="7F7F7F"/>
                </a:solidFill>
                <a:latin typeface="Calibri"/>
                <a:cs typeface="Calibri"/>
              </a:rPr>
              <a:t>26%</a:t>
            </a:r>
            <a:endParaRPr sz="7200">
              <a:latin typeface="Calibri"/>
              <a:cs typeface="Calibri"/>
            </a:endParaRPr>
          </a:p>
          <a:p>
            <a:pPr marL="12700" marR="5080">
              <a:lnSpc>
                <a:spcPct val="101299"/>
              </a:lnSpc>
              <a:spcBef>
                <a:spcPts val="345"/>
              </a:spcBef>
            </a:pPr>
            <a:r>
              <a:rPr sz="1600" b="1">
                <a:solidFill>
                  <a:srgbClr val="7F7F7F"/>
                </a:solidFill>
                <a:latin typeface="Calibri"/>
                <a:cs typeface="Calibri"/>
              </a:rPr>
              <a:t>of</a:t>
            </a:r>
            <a:r>
              <a:rPr sz="1600" b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600" b="1">
                <a:solidFill>
                  <a:srgbClr val="7F7F7F"/>
                </a:solidFill>
                <a:latin typeface="Calibri"/>
                <a:cs typeface="Calibri"/>
              </a:rPr>
              <a:t>SUID</a:t>
            </a:r>
            <a:r>
              <a:rPr sz="1600" b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600" b="1">
                <a:solidFill>
                  <a:srgbClr val="7F7F7F"/>
                </a:solidFill>
                <a:latin typeface="Calibri"/>
                <a:cs typeface="Calibri"/>
              </a:rPr>
              <a:t>occurred</a:t>
            </a:r>
            <a:r>
              <a:rPr sz="1600" b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600" b="1" spc="-10">
                <a:solidFill>
                  <a:srgbClr val="7F7F7F"/>
                </a:solidFill>
                <a:latin typeface="Calibri"/>
                <a:cs typeface="Calibri"/>
              </a:rPr>
              <a:t>among </a:t>
            </a:r>
            <a:r>
              <a:rPr sz="1600" b="1">
                <a:solidFill>
                  <a:srgbClr val="7F7F7F"/>
                </a:solidFill>
                <a:latin typeface="Calibri"/>
                <a:cs typeface="Calibri"/>
              </a:rPr>
              <a:t>infants</a:t>
            </a:r>
            <a:r>
              <a:rPr sz="1600" b="1" spc="-6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600" b="1">
                <a:solidFill>
                  <a:srgbClr val="7F7F7F"/>
                </a:solidFill>
                <a:latin typeface="Calibri"/>
                <a:cs typeface="Calibri"/>
              </a:rPr>
              <a:t>who</a:t>
            </a:r>
            <a:r>
              <a:rPr sz="1600" b="1" spc="-5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600" b="1">
                <a:solidFill>
                  <a:srgbClr val="7F7F7F"/>
                </a:solidFill>
                <a:latin typeface="Calibri"/>
                <a:cs typeface="Calibri"/>
              </a:rPr>
              <a:t>were</a:t>
            </a:r>
            <a:r>
              <a:rPr sz="1600" b="1" spc="-5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600" b="1" spc="-20">
                <a:solidFill>
                  <a:srgbClr val="7F7F7F"/>
                </a:solidFill>
                <a:latin typeface="Calibri"/>
                <a:cs typeface="Calibri"/>
              </a:rPr>
              <a:t>born </a:t>
            </a:r>
            <a:r>
              <a:rPr sz="1600" b="1" spc="-10">
                <a:solidFill>
                  <a:srgbClr val="7F7F7F"/>
                </a:solidFill>
                <a:latin typeface="Calibri"/>
                <a:cs typeface="Calibri"/>
              </a:rPr>
              <a:t>prematurely.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6094412" y="2212717"/>
            <a:ext cx="3111500" cy="1939289"/>
          </a:xfrm>
          <a:custGeom>
            <a:avLst/>
            <a:gdLst/>
            <a:ahLst/>
            <a:cxnLst/>
            <a:rect l="l" t="t" r="r" b="b"/>
            <a:pathLst>
              <a:path w="3111500" h="1939289">
                <a:moveTo>
                  <a:pt x="3111498" y="0"/>
                </a:moveTo>
                <a:lnTo>
                  <a:pt x="0" y="0"/>
                </a:lnTo>
                <a:lnTo>
                  <a:pt x="0" y="1938991"/>
                </a:lnTo>
                <a:lnTo>
                  <a:pt x="3111498" y="1938991"/>
                </a:lnTo>
                <a:lnTo>
                  <a:pt x="31114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6173152" y="1971546"/>
            <a:ext cx="2809240" cy="2117725"/>
          </a:xfrm>
          <a:prstGeom prst="rect">
            <a:avLst/>
          </a:prstGeom>
        </p:spPr>
        <p:txBody>
          <a:bodyPr vert="horz" wrap="square" lIns="0" tIns="22288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755"/>
              </a:spcBef>
            </a:pPr>
            <a:r>
              <a:rPr sz="7200" b="1" spc="-25">
                <a:solidFill>
                  <a:srgbClr val="7F7F7F"/>
                </a:solidFill>
                <a:latin typeface="Calibri"/>
                <a:cs typeface="Calibri"/>
              </a:rPr>
              <a:t>16%</a:t>
            </a:r>
            <a:endParaRPr sz="7200">
              <a:latin typeface="Calibri"/>
              <a:cs typeface="Calibri"/>
            </a:endParaRPr>
          </a:p>
          <a:p>
            <a:pPr marL="12700" marR="5080">
              <a:lnSpc>
                <a:spcPct val="101200"/>
              </a:lnSpc>
              <a:spcBef>
                <a:spcPts val="345"/>
              </a:spcBef>
            </a:pPr>
            <a:r>
              <a:rPr sz="1600" b="1">
                <a:solidFill>
                  <a:srgbClr val="7F7F7F"/>
                </a:solidFill>
                <a:latin typeface="Calibri"/>
                <a:cs typeface="Calibri"/>
              </a:rPr>
              <a:t>of</a:t>
            </a:r>
            <a:r>
              <a:rPr sz="1600" b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600" b="1">
                <a:solidFill>
                  <a:srgbClr val="7F7F7F"/>
                </a:solidFill>
                <a:latin typeface="Calibri"/>
                <a:cs typeface="Calibri"/>
              </a:rPr>
              <a:t>SUID</a:t>
            </a:r>
            <a:r>
              <a:rPr sz="1600" b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600" b="1">
                <a:solidFill>
                  <a:srgbClr val="7F7F7F"/>
                </a:solidFill>
                <a:latin typeface="Calibri"/>
                <a:cs typeface="Calibri"/>
              </a:rPr>
              <a:t>occurred</a:t>
            </a:r>
            <a:r>
              <a:rPr sz="1600" b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600" b="1">
                <a:solidFill>
                  <a:srgbClr val="7F7F7F"/>
                </a:solidFill>
                <a:latin typeface="Calibri"/>
                <a:cs typeface="Calibri"/>
              </a:rPr>
              <a:t>among</a:t>
            </a:r>
            <a:r>
              <a:rPr sz="1600" b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600" b="1" spc="-10">
                <a:solidFill>
                  <a:srgbClr val="7F7F7F"/>
                </a:solidFill>
                <a:latin typeface="Calibri"/>
                <a:cs typeface="Calibri"/>
              </a:rPr>
              <a:t>infants </a:t>
            </a:r>
            <a:r>
              <a:rPr sz="1600" b="1">
                <a:solidFill>
                  <a:srgbClr val="7F7F7F"/>
                </a:solidFill>
                <a:latin typeface="Calibri"/>
                <a:cs typeface="Calibri"/>
              </a:rPr>
              <a:t>who</a:t>
            </a:r>
            <a:r>
              <a:rPr sz="1600" b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600" b="1">
                <a:solidFill>
                  <a:srgbClr val="7F7F7F"/>
                </a:solidFill>
                <a:latin typeface="Calibri"/>
                <a:cs typeface="Calibri"/>
              </a:rPr>
              <a:t>had</a:t>
            </a:r>
            <a:r>
              <a:rPr sz="1600" b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600" b="1" spc="-10">
                <a:solidFill>
                  <a:srgbClr val="7F7F7F"/>
                </a:solidFill>
                <a:latin typeface="Calibri"/>
                <a:cs typeface="Calibri"/>
              </a:rPr>
              <a:t>prenatal</a:t>
            </a:r>
            <a:r>
              <a:rPr sz="1600" b="1" spc="-4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600" b="1">
                <a:solidFill>
                  <a:srgbClr val="7F7F7F"/>
                </a:solidFill>
                <a:latin typeface="Calibri"/>
                <a:cs typeface="Calibri"/>
              </a:rPr>
              <a:t>and/or</a:t>
            </a:r>
            <a:r>
              <a:rPr sz="1600" b="1" spc="-2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600" b="1" spc="-10">
                <a:solidFill>
                  <a:srgbClr val="7F7F7F"/>
                </a:solidFill>
                <a:latin typeface="Calibri"/>
                <a:cs typeface="Calibri"/>
              </a:rPr>
              <a:t>current </a:t>
            </a:r>
            <a:r>
              <a:rPr sz="1600" b="1">
                <a:solidFill>
                  <a:srgbClr val="7F7F7F"/>
                </a:solidFill>
                <a:latin typeface="Calibri"/>
                <a:cs typeface="Calibri"/>
              </a:rPr>
              <a:t>smoke</a:t>
            </a:r>
            <a:r>
              <a:rPr sz="1600" b="1" spc="-6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600" b="1" spc="-10">
                <a:solidFill>
                  <a:srgbClr val="7F7F7F"/>
                </a:solidFill>
                <a:latin typeface="Calibri"/>
                <a:cs typeface="Calibri"/>
              </a:rPr>
              <a:t>exposure.</a:t>
            </a:r>
            <a:endParaRPr sz="16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6641629"/>
            <a:ext cx="12188825" cy="216535"/>
          </a:xfrm>
          <a:custGeom>
            <a:avLst/>
            <a:gdLst/>
            <a:ahLst/>
            <a:cxnLst/>
            <a:rect l="l" t="t" r="r" b="b"/>
            <a:pathLst>
              <a:path w="12188825" h="216534">
                <a:moveTo>
                  <a:pt x="12188825" y="0"/>
                </a:moveTo>
                <a:lnTo>
                  <a:pt x="0" y="0"/>
                </a:lnTo>
                <a:lnTo>
                  <a:pt x="0" y="216369"/>
                </a:lnTo>
                <a:lnTo>
                  <a:pt x="12188825" y="216369"/>
                </a:lnTo>
                <a:lnTo>
                  <a:pt x="12188825" y="0"/>
                </a:lnTo>
                <a:close/>
              </a:path>
            </a:pathLst>
          </a:custGeom>
          <a:solidFill>
            <a:srgbClr val="00B5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4744370" y="6421628"/>
            <a:ext cx="270383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SUID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ok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unty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ase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Registry</a:t>
            </a:r>
            <a:r>
              <a:rPr sz="1200" spc="-3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 spc="-10">
                <a:solidFill>
                  <a:srgbClr val="898989"/>
                </a:solidFill>
                <a:latin typeface="Calibri"/>
                <a:cs typeface="Calibri"/>
              </a:rPr>
              <a:t>2019-</a:t>
            </a:r>
            <a:r>
              <a:rPr sz="1200" spc="-20">
                <a:solidFill>
                  <a:srgbClr val="898989"/>
                </a:solidFill>
                <a:latin typeface="Calibri"/>
                <a:cs typeface="Calibri"/>
              </a:rPr>
              <a:t>2021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889928" y="4107669"/>
            <a:ext cx="3709035" cy="1477645"/>
          </a:xfrm>
          <a:prstGeom prst="rect">
            <a:avLst/>
          </a:prstGeom>
          <a:ln w="9525">
            <a:solidFill>
              <a:srgbClr val="44546A"/>
            </a:solidFill>
          </a:ln>
        </p:spPr>
        <p:txBody>
          <a:bodyPr vert="horz" wrap="square" lIns="0" tIns="32384" rIns="0" bIns="0" rtlCol="0">
            <a:spAutoFit/>
          </a:bodyPr>
          <a:lstStyle/>
          <a:p>
            <a:pPr marL="91440" marR="137160">
              <a:lnSpc>
                <a:spcPct val="99700"/>
              </a:lnSpc>
              <a:spcBef>
                <a:spcPts val="254"/>
              </a:spcBef>
            </a:pPr>
            <a:r>
              <a:rPr sz="1800" i="1">
                <a:latin typeface="Calibri"/>
                <a:cs typeface="Calibri"/>
              </a:rPr>
              <a:t>In</a:t>
            </a:r>
            <a:r>
              <a:rPr sz="1800" i="1" spc="-20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Cook</a:t>
            </a:r>
            <a:r>
              <a:rPr sz="1800" i="1" spc="-30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County</a:t>
            </a:r>
            <a:r>
              <a:rPr sz="1800" i="1" spc="-30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from</a:t>
            </a:r>
            <a:r>
              <a:rPr sz="1800" i="1" spc="-20">
                <a:latin typeface="Calibri"/>
                <a:cs typeface="Calibri"/>
              </a:rPr>
              <a:t> </a:t>
            </a:r>
            <a:r>
              <a:rPr sz="1800" i="1" spc="-10">
                <a:latin typeface="Calibri"/>
                <a:cs typeface="Calibri"/>
              </a:rPr>
              <a:t>2019-2021, </a:t>
            </a:r>
            <a:r>
              <a:rPr sz="1800" i="1">
                <a:latin typeface="Calibri"/>
                <a:cs typeface="Calibri"/>
              </a:rPr>
              <a:t>Black</a:t>
            </a:r>
            <a:r>
              <a:rPr sz="1800" i="1" spc="-25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infants</a:t>
            </a:r>
            <a:r>
              <a:rPr sz="1800" i="1" spc="-20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died</a:t>
            </a:r>
            <a:r>
              <a:rPr sz="1800" i="1" spc="-20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of</a:t>
            </a:r>
            <a:r>
              <a:rPr sz="1800" i="1" spc="-20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SUID</a:t>
            </a:r>
            <a:r>
              <a:rPr sz="1800" i="1" spc="-15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at</a:t>
            </a:r>
            <a:r>
              <a:rPr sz="1800" i="1" spc="-30">
                <a:latin typeface="Calibri"/>
                <a:cs typeface="Calibri"/>
              </a:rPr>
              <a:t> </a:t>
            </a:r>
            <a:r>
              <a:rPr sz="1800" b="1" i="1">
                <a:latin typeface="Calibri"/>
                <a:cs typeface="Calibri"/>
              </a:rPr>
              <a:t>15</a:t>
            </a:r>
            <a:r>
              <a:rPr sz="1800" b="1" i="1" spc="-20">
                <a:latin typeface="Calibri"/>
                <a:cs typeface="Calibri"/>
              </a:rPr>
              <a:t> </a:t>
            </a:r>
            <a:r>
              <a:rPr sz="1800" b="1" i="1" spc="-10">
                <a:latin typeface="Calibri"/>
                <a:cs typeface="Calibri"/>
              </a:rPr>
              <a:t>times </a:t>
            </a:r>
            <a:r>
              <a:rPr sz="1800" i="1">
                <a:latin typeface="Calibri"/>
                <a:cs typeface="Calibri"/>
              </a:rPr>
              <a:t>the</a:t>
            </a:r>
            <a:r>
              <a:rPr sz="1800" i="1" spc="-40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rate</a:t>
            </a:r>
            <a:r>
              <a:rPr sz="1800" i="1" spc="-35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of</a:t>
            </a:r>
            <a:r>
              <a:rPr sz="1800" i="1" spc="-35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White</a:t>
            </a:r>
            <a:r>
              <a:rPr sz="1800" i="1" spc="-35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infants,</a:t>
            </a:r>
            <a:r>
              <a:rPr sz="1800" i="1" spc="-40">
                <a:latin typeface="Calibri"/>
                <a:cs typeface="Calibri"/>
              </a:rPr>
              <a:t> </a:t>
            </a:r>
            <a:r>
              <a:rPr sz="1800" i="1" spc="-25">
                <a:latin typeface="Calibri"/>
                <a:cs typeface="Calibri"/>
              </a:rPr>
              <a:t>and </a:t>
            </a:r>
            <a:r>
              <a:rPr sz="1800" i="1">
                <a:latin typeface="Calibri"/>
                <a:cs typeface="Calibri"/>
              </a:rPr>
              <a:t>Hispanic</a:t>
            </a:r>
            <a:r>
              <a:rPr sz="1800" i="1" spc="-30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infants</a:t>
            </a:r>
            <a:r>
              <a:rPr sz="1800" i="1" spc="-25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died</a:t>
            </a:r>
            <a:r>
              <a:rPr sz="1800" i="1" spc="-25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of</a:t>
            </a:r>
            <a:r>
              <a:rPr sz="1800" i="1" spc="-30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SUID</a:t>
            </a:r>
            <a:r>
              <a:rPr sz="1800" i="1" spc="-20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at</a:t>
            </a:r>
            <a:r>
              <a:rPr sz="1800" i="1" spc="-30">
                <a:latin typeface="Calibri"/>
                <a:cs typeface="Calibri"/>
              </a:rPr>
              <a:t> </a:t>
            </a:r>
            <a:r>
              <a:rPr sz="1800" b="1" i="1" spc="-50">
                <a:latin typeface="Calibri"/>
                <a:cs typeface="Calibri"/>
              </a:rPr>
              <a:t>3 </a:t>
            </a:r>
            <a:r>
              <a:rPr sz="1800" b="1" i="1">
                <a:latin typeface="Calibri"/>
                <a:cs typeface="Calibri"/>
              </a:rPr>
              <a:t>times</a:t>
            </a:r>
            <a:r>
              <a:rPr sz="1800" b="1" i="1" spc="-25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the</a:t>
            </a:r>
            <a:r>
              <a:rPr sz="1800" i="1" spc="-25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rate</a:t>
            </a:r>
            <a:r>
              <a:rPr sz="1800" i="1" spc="-25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of</a:t>
            </a:r>
            <a:r>
              <a:rPr sz="1800" i="1" spc="-25">
                <a:latin typeface="Calibri"/>
                <a:cs typeface="Calibri"/>
              </a:rPr>
              <a:t> </a:t>
            </a:r>
            <a:r>
              <a:rPr sz="1800" i="1">
                <a:latin typeface="Calibri"/>
                <a:cs typeface="Calibri"/>
              </a:rPr>
              <a:t>White</a:t>
            </a:r>
            <a:r>
              <a:rPr sz="1800" i="1" spc="-25">
                <a:latin typeface="Calibri"/>
                <a:cs typeface="Calibri"/>
              </a:rPr>
              <a:t> </a:t>
            </a:r>
            <a:r>
              <a:rPr sz="1800" i="1" spc="-10">
                <a:latin typeface="Calibri"/>
                <a:cs typeface="Calibri"/>
              </a:rPr>
              <a:t>infants.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540422" y="499363"/>
            <a:ext cx="239712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>
                <a:solidFill>
                  <a:srgbClr val="006232"/>
                </a:solidFill>
                <a:latin typeface="Arial"/>
                <a:cs typeface="Arial"/>
              </a:rPr>
              <a:t>SUID</a:t>
            </a:r>
            <a:r>
              <a:rPr sz="2400" b="1" spc="-75">
                <a:solidFill>
                  <a:srgbClr val="006232"/>
                </a:solidFill>
                <a:latin typeface="Arial"/>
                <a:cs typeface="Arial"/>
              </a:rPr>
              <a:t> </a:t>
            </a:r>
            <a:r>
              <a:rPr sz="2400" b="1" spc="-10">
                <a:solidFill>
                  <a:srgbClr val="006232"/>
                </a:solidFill>
                <a:latin typeface="Arial"/>
                <a:cs typeface="Arial"/>
              </a:rPr>
              <a:t>Disparities</a:t>
            </a:r>
            <a:endParaRPr sz="2400">
              <a:latin typeface="Arial"/>
              <a:cs typeface="Arial"/>
            </a:endParaRPr>
          </a:p>
        </p:txBody>
      </p:sp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45271" y="1273003"/>
            <a:ext cx="7186656" cy="4311992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440508" y="1268241"/>
            <a:ext cx="7196455" cy="4321810"/>
          </a:xfrm>
          <a:prstGeom prst="rect">
            <a:avLst/>
          </a:prstGeom>
          <a:ln w="9525">
            <a:solidFill>
              <a:srgbClr val="00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1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1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1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1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1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1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10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775"/>
              </a:spcBef>
            </a:pPr>
            <a:endParaRPr sz="1100">
              <a:latin typeface="Times New Roman"/>
              <a:cs typeface="Times New Roman"/>
            </a:endParaRPr>
          </a:p>
          <a:p>
            <a:pPr marL="2265045">
              <a:lnSpc>
                <a:spcPct val="100000"/>
              </a:lnSpc>
            </a:pPr>
            <a:r>
              <a:rPr sz="1100" b="1" spc="-25">
                <a:solidFill>
                  <a:srgbClr val="FFFFFF"/>
                </a:solidFill>
                <a:latin typeface="Calibri"/>
                <a:cs typeface="Calibri"/>
              </a:rPr>
              <a:t>255</a:t>
            </a:r>
            <a:endParaRPr sz="110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10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10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10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10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10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10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1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540"/>
              </a:spcBef>
            </a:pPr>
            <a:endParaRPr sz="1100">
              <a:latin typeface="Calibri"/>
              <a:cs typeface="Calibri"/>
            </a:endParaRPr>
          </a:p>
          <a:p>
            <a:pPr marL="371475" algn="ctr">
              <a:lnSpc>
                <a:spcPct val="100000"/>
              </a:lnSpc>
            </a:pPr>
            <a:r>
              <a:rPr sz="1100" b="1" spc="-25">
                <a:solidFill>
                  <a:srgbClr val="FFFFFF"/>
                </a:solidFill>
                <a:latin typeface="Calibri"/>
                <a:cs typeface="Calibri"/>
              </a:rPr>
              <a:t>50</a:t>
            </a:r>
            <a:endParaRPr sz="1100">
              <a:latin typeface="Calibri"/>
              <a:cs typeface="Calibri"/>
            </a:endParaRPr>
          </a:p>
          <a:p>
            <a:pPr marL="3227070" algn="ctr">
              <a:lnSpc>
                <a:spcPct val="100000"/>
              </a:lnSpc>
              <a:spcBef>
                <a:spcPts val="600"/>
              </a:spcBef>
            </a:pPr>
            <a:r>
              <a:rPr sz="1100" b="1" spc="-25">
                <a:solidFill>
                  <a:srgbClr val="FFFFFF"/>
                </a:solidFill>
                <a:latin typeface="Calibri"/>
                <a:cs typeface="Calibri"/>
              </a:rPr>
              <a:t>17</a:t>
            </a:r>
            <a:endParaRPr sz="11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6641629"/>
            <a:ext cx="12188825" cy="216535"/>
          </a:xfrm>
          <a:custGeom>
            <a:avLst/>
            <a:gdLst/>
            <a:ahLst/>
            <a:cxnLst/>
            <a:rect l="l" t="t" r="r" b="b"/>
            <a:pathLst>
              <a:path w="12188825" h="216534">
                <a:moveTo>
                  <a:pt x="12188825" y="0"/>
                </a:moveTo>
                <a:lnTo>
                  <a:pt x="0" y="0"/>
                </a:lnTo>
                <a:lnTo>
                  <a:pt x="0" y="216369"/>
                </a:lnTo>
                <a:lnTo>
                  <a:pt x="12188825" y="216369"/>
                </a:lnTo>
                <a:lnTo>
                  <a:pt x="12188825" y="0"/>
                </a:lnTo>
                <a:close/>
              </a:path>
            </a:pathLst>
          </a:custGeom>
          <a:solidFill>
            <a:srgbClr val="00B5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4744370" y="6421628"/>
            <a:ext cx="270383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SUID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ok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unty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ase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Registry</a:t>
            </a:r>
            <a:r>
              <a:rPr sz="1200" spc="-3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 spc="-10">
                <a:solidFill>
                  <a:srgbClr val="898989"/>
                </a:solidFill>
                <a:latin typeface="Calibri"/>
                <a:cs typeface="Calibri"/>
              </a:rPr>
              <a:t>2019-</a:t>
            </a:r>
            <a:r>
              <a:rPr sz="1200" spc="-20">
                <a:solidFill>
                  <a:srgbClr val="898989"/>
                </a:solidFill>
                <a:latin typeface="Calibri"/>
                <a:cs typeface="Calibri"/>
              </a:rPr>
              <a:t>2021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455285" y="135379"/>
            <a:ext cx="8616800" cy="1143200"/>
          </a:xfrm>
          <a:prstGeom prst="rect">
            <a:avLst/>
          </a:prstGeom>
        </p:spPr>
        <p:txBody>
          <a:bodyPr vert="horz" wrap="square" lIns="0" tIns="214883" rIns="0" bIns="0" rtlCol="0">
            <a:spAutoFit/>
          </a:bodyPr>
          <a:lstStyle/>
          <a:p>
            <a:pPr marL="117475">
              <a:lnSpc>
                <a:spcPct val="100000"/>
              </a:lnSpc>
              <a:spcBef>
                <a:spcPts val="100"/>
              </a:spcBef>
            </a:pPr>
            <a:r>
              <a:rPr sz="2400" b="1">
                <a:solidFill>
                  <a:srgbClr val="006232"/>
                </a:solidFill>
                <a:latin typeface="Arial"/>
                <a:cs typeface="Arial"/>
              </a:rPr>
              <a:t>Preterm</a:t>
            </a:r>
            <a:r>
              <a:rPr sz="2400" b="1" spc="-105">
                <a:solidFill>
                  <a:srgbClr val="006232"/>
                </a:solidFill>
                <a:latin typeface="Arial"/>
                <a:cs typeface="Arial"/>
              </a:rPr>
              <a:t> </a:t>
            </a:r>
            <a:r>
              <a:rPr sz="2400" b="1" spc="-20">
                <a:solidFill>
                  <a:srgbClr val="006232"/>
                </a:solidFill>
                <a:latin typeface="Arial"/>
                <a:cs typeface="Arial"/>
              </a:rPr>
              <a:t>SUID</a:t>
            </a:r>
            <a:endParaRPr sz="24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889929" y="3931511"/>
            <a:ext cx="3709035" cy="1323975"/>
          </a:xfrm>
          <a:prstGeom prst="rect">
            <a:avLst/>
          </a:prstGeom>
          <a:ln w="9525">
            <a:solidFill>
              <a:srgbClr val="7F7F7F"/>
            </a:solidFill>
          </a:ln>
        </p:spPr>
        <p:txBody>
          <a:bodyPr vert="horz" wrap="square" lIns="0" tIns="33019" rIns="0" bIns="0" rtlCol="0">
            <a:spAutoFit/>
          </a:bodyPr>
          <a:lstStyle/>
          <a:p>
            <a:pPr marL="91440" marR="97790">
              <a:lnSpc>
                <a:spcPct val="100000"/>
              </a:lnSpc>
              <a:spcBef>
                <a:spcPts val="259"/>
              </a:spcBef>
            </a:pPr>
            <a:r>
              <a:rPr sz="2000" i="1">
                <a:latin typeface="Calibri"/>
                <a:cs typeface="Calibri"/>
              </a:rPr>
              <a:t>The</a:t>
            </a:r>
            <a:r>
              <a:rPr sz="2000" i="1" spc="-45">
                <a:latin typeface="Calibri"/>
                <a:cs typeface="Calibri"/>
              </a:rPr>
              <a:t> </a:t>
            </a:r>
            <a:r>
              <a:rPr sz="2000" i="1">
                <a:latin typeface="Calibri"/>
                <a:cs typeface="Calibri"/>
              </a:rPr>
              <a:t>rate</a:t>
            </a:r>
            <a:r>
              <a:rPr sz="2000" i="1" spc="-45">
                <a:latin typeface="Calibri"/>
                <a:cs typeface="Calibri"/>
              </a:rPr>
              <a:t> </a:t>
            </a:r>
            <a:r>
              <a:rPr sz="2000" i="1">
                <a:latin typeface="Calibri"/>
                <a:cs typeface="Calibri"/>
              </a:rPr>
              <a:t>of</a:t>
            </a:r>
            <a:r>
              <a:rPr sz="2000" i="1" spc="-40">
                <a:latin typeface="Calibri"/>
                <a:cs typeface="Calibri"/>
              </a:rPr>
              <a:t> </a:t>
            </a:r>
            <a:r>
              <a:rPr sz="2000" i="1">
                <a:latin typeface="Calibri"/>
                <a:cs typeface="Calibri"/>
              </a:rPr>
              <a:t>SUID</a:t>
            </a:r>
            <a:r>
              <a:rPr sz="2000" i="1" spc="-40">
                <a:latin typeface="Calibri"/>
                <a:cs typeface="Calibri"/>
              </a:rPr>
              <a:t> </a:t>
            </a:r>
            <a:r>
              <a:rPr sz="2000" i="1">
                <a:latin typeface="Calibri"/>
                <a:cs typeface="Calibri"/>
              </a:rPr>
              <a:t>for</a:t>
            </a:r>
            <a:r>
              <a:rPr sz="2000" i="1" spc="-40">
                <a:latin typeface="Calibri"/>
                <a:cs typeface="Calibri"/>
              </a:rPr>
              <a:t> </a:t>
            </a:r>
            <a:r>
              <a:rPr sz="2000" i="1">
                <a:latin typeface="Calibri"/>
                <a:cs typeface="Calibri"/>
              </a:rPr>
              <a:t>preterm</a:t>
            </a:r>
            <a:r>
              <a:rPr sz="2000" i="1" spc="-35">
                <a:latin typeface="Calibri"/>
                <a:cs typeface="Calibri"/>
              </a:rPr>
              <a:t> </a:t>
            </a:r>
            <a:r>
              <a:rPr sz="2000" i="1" spc="-10">
                <a:latin typeface="Calibri"/>
                <a:cs typeface="Calibri"/>
              </a:rPr>
              <a:t>Black </a:t>
            </a:r>
            <a:r>
              <a:rPr sz="2000" i="1">
                <a:latin typeface="Calibri"/>
                <a:cs typeface="Calibri"/>
              </a:rPr>
              <a:t>infants</a:t>
            </a:r>
            <a:r>
              <a:rPr sz="2000" i="1" spc="-60">
                <a:latin typeface="Calibri"/>
                <a:cs typeface="Calibri"/>
              </a:rPr>
              <a:t> </a:t>
            </a:r>
            <a:r>
              <a:rPr sz="2000" i="1">
                <a:latin typeface="Calibri"/>
                <a:cs typeface="Calibri"/>
              </a:rPr>
              <a:t>in</a:t>
            </a:r>
            <a:r>
              <a:rPr sz="2000" i="1" spc="-55">
                <a:latin typeface="Calibri"/>
                <a:cs typeface="Calibri"/>
              </a:rPr>
              <a:t> </a:t>
            </a:r>
            <a:r>
              <a:rPr sz="2000" i="1">
                <a:latin typeface="Calibri"/>
                <a:cs typeface="Calibri"/>
              </a:rPr>
              <a:t>Cook</a:t>
            </a:r>
            <a:r>
              <a:rPr sz="2000" i="1" spc="-50">
                <a:latin typeface="Calibri"/>
                <a:cs typeface="Calibri"/>
              </a:rPr>
              <a:t> </a:t>
            </a:r>
            <a:r>
              <a:rPr sz="2000" i="1">
                <a:latin typeface="Calibri"/>
                <a:cs typeface="Calibri"/>
              </a:rPr>
              <a:t>County</a:t>
            </a:r>
            <a:r>
              <a:rPr sz="2000" i="1" spc="-50">
                <a:latin typeface="Calibri"/>
                <a:cs typeface="Calibri"/>
              </a:rPr>
              <a:t> </a:t>
            </a:r>
            <a:r>
              <a:rPr sz="2000" i="1" spc="-25">
                <a:latin typeface="Calibri"/>
                <a:cs typeface="Calibri"/>
              </a:rPr>
              <a:t>is</a:t>
            </a:r>
            <a:endParaRPr sz="2000">
              <a:latin typeface="Calibri"/>
              <a:cs typeface="Calibri"/>
            </a:endParaRPr>
          </a:p>
          <a:p>
            <a:pPr marL="91440" marR="218440">
              <a:lnSpc>
                <a:spcPct val="100000"/>
              </a:lnSpc>
            </a:pPr>
            <a:r>
              <a:rPr sz="2000" i="1">
                <a:latin typeface="Calibri"/>
                <a:cs typeface="Calibri"/>
              </a:rPr>
              <a:t>472</a:t>
            </a:r>
            <a:r>
              <a:rPr sz="2000" i="1" spc="-40">
                <a:latin typeface="Calibri"/>
                <a:cs typeface="Calibri"/>
              </a:rPr>
              <a:t> </a:t>
            </a:r>
            <a:r>
              <a:rPr sz="2000" i="1">
                <a:latin typeface="Calibri"/>
                <a:cs typeface="Calibri"/>
              </a:rPr>
              <a:t>per</a:t>
            </a:r>
            <a:r>
              <a:rPr sz="2000" i="1" spc="-40">
                <a:latin typeface="Calibri"/>
                <a:cs typeface="Calibri"/>
              </a:rPr>
              <a:t> </a:t>
            </a:r>
            <a:r>
              <a:rPr sz="2000" i="1">
                <a:latin typeface="Calibri"/>
                <a:cs typeface="Calibri"/>
              </a:rPr>
              <a:t>100,000</a:t>
            </a:r>
            <a:r>
              <a:rPr sz="2000" i="1" spc="-40">
                <a:latin typeface="Calibri"/>
                <a:cs typeface="Calibri"/>
              </a:rPr>
              <a:t> </a:t>
            </a:r>
            <a:r>
              <a:rPr sz="2000" i="1">
                <a:latin typeface="Calibri"/>
                <a:cs typeface="Calibri"/>
              </a:rPr>
              <a:t>preterm</a:t>
            </a:r>
            <a:r>
              <a:rPr sz="2000" i="1" spc="-35">
                <a:latin typeface="Calibri"/>
                <a:cs typeface="Calibri"/>
              </a:rPr>
              <a:t> </a:t>
            </a:r>
            <a:r>
              <a:rPr sz="2000" i="1">
                <a:latin typeface="Calibri"/>
                <a:cs typeface="Calibri"/>
              </a:rPr>
              <a:t>births</a:t>
            </a:r>
            <a:r>
              <a:rPr sz="2000" i="1" spc="-45">
                <a:latin typeface="Calibri"/>
                <a:cs typeface="Calibri"/>
              </a:rPr>
              <a:t> </a:t>
            </a:r>
            <a:r>
              <a:rPr sz="2000" i="1" spc="-50">
                <a:latin typeface="Calibri"/>
                <a:cs typeface="Calibri"/>
              </a:rPr>
              <a:t>– </a:t>
            </a:r>
            <a:r>
              <a:rPr sz="2000" i="1">
                <a:latin typeface="Calibri"/>
                <a:cs typeface="Calibri"/>
              </a:rPr>
              <a:t>or</a:t>
            </a:r>
            <a:r>
              <a:rPr sz="2000" i="1" spc="-35">
                <a:latin typeface="Calibri"/>
                <a:cs typeface="Calibri"/>
              </a:rPr>
              <a:t> </a:t>
            </a:r>
            <a:r>
              <a:rPr sz="2000" b="1" i="1">
                <a:latin typeface="Calibri"/>
                <a:cs typeface="Calibri"/>
              </a:rPr>
              <a:t>1</a:t>
            </a:r>
            <a:r>
              <a:rPr sz="2000" b="1" i="1" spc="-30">
                <a:latin typeface="Calibri"/>
                <a:cs typeface="Calibri"/>
              </a:rPr>
              <a:t> </a:t>
            </a:r>
            <a:r>
              <a:rPr sz="2000" b="1" i="1">
                <a:latin typeface="Calibri"/>
                <a:cs typeface="Calibri"/>
              </a:rPr>
              <a:t>in</a:t>
            </a:r>
            <a:r>
              <a:rPr sz="2000" b="1" i="1" spc="-35">
                <a:latin typeface="Calibri"/>
                <a:cs typeface="Calibri"/>
              </a:rPr>
              <a:t> </a:t>
            </a:r>
            <a:r>
              <a:rPr sz="2000" b="1" i="1">
                <a:latin typeface="Calibri"/>
                <a:cs typeface="Calibri"/>
              </a:rPr>
              <a:t>212</a:t>
            </a:r>
            <a:r>
              <a:rPr sz="2000" b="1" i="1" spc="-35">
                <a:latin typeface="Calibri"/>
                <a:cs typeface="Calibri"/>
              </a:rPr>
              <a:t> </a:t>
            </a:r>
            <a:r>
              <a:rPr sz="2000" i="1">
                <a:latin typeface="Calibri"/>
                <a:cs typeface="Calibri"/>
              </a:rPr>
              <a:t>preterm</a:t>
            </a:r>
            <a:r>
              <a:rPr sz="2000" i="1" spc="-25">
                <a:latin typeface="Calibri"/>
                <a:cs typeface="Calibri"/>
              </a:rPr>
              <a:t> </a:t>
            </a:r>
            <a:r>
              <a:rPr sz="2000" i="1">
                <a:latin typeface="Calibri"/>
                <a:cs typeface="Calibri"/>
              </a:rPr>
              <a:t>Black</a:t>
            </a:r>
            <a:r>
              <a:rPr sz="2000" i="1" spc="-25">
                <a:latin typeface="Calibri"/>
                <a:cs typeface="Calibri"/>
              </a:rPr>
              <a:t> </a:t>
            </a:r>
            <a:r>
              <a:rPr sz="2000" i="1" spc="-10">
                <a:latin typeface="Calibri"/>
                <a:cs typeface="Calibri"/>
              </a:rPr>
              <a:t>births</a:t>
            </a:r>
            <a:endParaRPr sz="2000">
              <a:latin typeface="Calibri"/>
              <a:cs typeface="Calibri"/>
            </a:endParaRPr>
          </a:p>
        </p:txBody>
      </p:sp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61682" y="1400999"/>
            <a:ext cx="7116385" cy="4262010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744370" y="6421628"/>
            <a:ext cx="270383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SUID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ok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unty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ase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Registry</a:t>
            </a:r>
            <a:r>
              <a:rPr sz="1200" spc="-3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 spc="-10">
                <a:solidFill>
                  <a:srgbClr val="898989"/>
                </a:solidFill>
                <a:latin typeface="Calibri"/>
                <a:cs typeface="Calibri"/>
              </a:rPr>
              <a:t>2019-</a:t>
            </a:r>
            <a:r>
              <a:rPr sz="1200" spc="-20">
                <a:solidFill>
                  <a:srgbClr val="898989"/>
                </a:solidFill>
                <a:latin typeface="Calibri"/>
                <a:cs typeface="Calibri"/>
              </a:rPr>
              <a:t>2022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6641629"/>
            <a:ext cx="12188825" cy="216535"/>
          </a:xfrm>
          <a:custGeom>
            <a:avLst/>
            <a:gdLst/>
            <a:ahLst/>
            <a:cxnLst/>
            <a:rect l="l" t="t" r="r" b="b"/>
            <a:pathLst>
              <a:path w="12188825" h="216534">
                <a:moveTo>
                  <a:pt x="12188825" y="0"/>
                </a:moveTo>
                <a:lnTo>
                  <a:pt x="0" y="0"/>
                </a:lnTo>
                <a:lnTo>
                  <a:pt x="0" y="216369"/>
                </a:lnTo>
                <a:lnTo>
                  <a:pt x="12188825" y="216369"/>
                </a:lnTo>
                <a:lnTo>
                  <a:pt x="12188825" y="0"/>
                </a:lnTo>
                <a:close/>
              </a:path>
            </a:pathLst>
          </a:custGeom>
          <a:solidFill>
            <a:srgbClr val="00B58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" name="object 4"/>
          <p:cNvGrpSpPr/>
          <p:nvPr/>
        </p:nvGrpSpPr>
        <p:grpSpPr>
          <a:xfrm>
            <a:off x="3819207" y="5011657"/>
            <a:ext cx="1739900" cy="851535"/>
            <a:chOff x="3819207" y="5011657"/>
            <a:chExt cx="1739900" cy="851535"/>
          </a:xfrm>
        </p:grpSpPr>
        <p:sp>
          <p:nvSpPr>
            <p:cNvPr id="5" name="object 5"/>
            <p:cNvSpPr/>
            <p:nvPr/>
          </p:nvSpPr>
          <p:spPr>
            <a:xfrm>
              <a:off x="3822382" y="5014832"/>
              <a:ext cx="1733550" cy="845185"/>
            </a:xfrm>
            <a:custGeom>
              <a:avLst/>
              <a:gdLst/>
              <a:ahLst/>
              <a:cxnLst/>
              <a:rect l="l" t="t" r="r" b="b"/>
              <a:pathLst>
                <a:path w="1733550" h="845185">
                  <a:moveTo>
                    <a:pt x="1733476" y="0"/>
                  </a:moveTo>
                  <a:lnTo>
                    <a:pt x="0" y="0"/>
                  </a:lnTo>
                  <a:lnTo>
                    <a:pt x="0" y="844760"/>
                  </a:lnTo>
                  <a:lnTo>
                    <a:pt x="1733476" y="844760"/>
                  </a:lnTo>
                  <a:lnTo>
                    <a:pt x="1733476" y="0"/>
                  </a:lnTo>
                  <a:close/>
                </a:path>
              </a:pathLst>
            </a:custGeom>
            <a:solidFill>
              <a:srgbClr val="D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3822382" y="5014832"/>
              <a:ext cx="1733550" cy="845185"/>
            </a:xfrm>
            <a:custGeom>
              <a:avLst/>
              <a:gdLst/>
              <a:ahLst/>
              <a:cxnLst/>
              <a:rect l="l" t="t" r="r" b="b"/>
              <a:pathLst>
                <a:path w="1733550" h="845185">
                  <a:moveTo>
                    <a:pt x="0" y="0"/>
                  </a:moveTo>
                  <a:lnTo>
                    <a:pt x="1733477" y="0"/>
                  </a:lnTo>
                  <a:lnTo>
                    <a:pt x="1733477" y="844760"/>
                  </a:lnTo>
                  <a:lnTo>
                    <a:pt x="0" y="844760"/>
                  </a:lnTo>
                  <a:lnTo>
                    <a:pt x="0" y="0"/>
                  </a:lnTo>
                  <a:close/>
                </a:path>
              </a:pathLst>
            </a:custGeom>
            <a:ln w="6350">
              <a:solidFill>
                <a:srgbClr val="4472C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3924390" y="5158412"/>
            <a:ext cx="1529715" cy="5549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1385"/>
              </a:lnSpc>
            </a:pPr>
            <a:r>
              <a:rPr sz="1200" b="1" i="1" spc="-10">
                <a:latin typeface="Calibri"/>
                <a:cs typeface="Calibri"/>
              </a:rPr>
              <a:t>Sleep-</a:t>
            </a:r>
            <a:r>
              <a:rPr sz="1200" b="1" i="1">
                <a:latin typeface="Calibri"/>
                <a:cs typeface="Calibri"/>
              </a:rPr>
              <a:t>related</a:t>
            </a:r>
            <a:r>
              <a:rPr sz="1200" b="1" i="1" spc="-20">
                <a:latin typeface="Calibri"/>
                <a:cs typeface="Calibri"/>
              </a:rPr>
              <a:t> </a:t>
            </a:r>
            <a:r>
              <a:rPr sz="1200" b="1" i="1">
                <a:latin typeface="Calibri"/>
                <a:cs typeface="Calibri"/>
              </a:rPr>
              <a:t>SUIDs</a:t>
            </a:r>
            <a:r>
              <a:rPr sz="1200" b="1" i="1" spc="-15">
                <a:latin typeface="Calibri"/>
                <a:cs typeface="Calibri"/>
              </a:rPr>
              <a:t> </a:t>
            </a:r>
            <a:r>
              <a:rPr sz="1200" b="1" i="1" spc="-25">
                <a:latin typeface="Calibri"/>
                <a:cs typeface="Calibri"/>
              </a:rPr>
              <a:t>of</a:t>
            </a:r>
            <a:endParaRPr sz="1200">
              <a:latin typeface="Calibri"/>
              <a:cs typeface="Calibri"/>
            </a:endParaRPr>
          </a:p>
          <a:p>
            <a:pPr algn="ctr">
              <a:lnSpc>
                <a:spcPts val="1430"/>
              </a:lnSpc>
              <a:spcBef>
                <a:spcPts val="45"/>
              </a:spcBef>
            </a:pPr>
            <a:r>
              <a:rPr sz="1200" b="1" i="1">
                <a:latin typeface="Calibri"/>
                <a:cs typeface="Calibri"/>
              </a:rPr>
              <a:t>Cook</a:t>
            </a:r>
            <a:r>
              <a:rPr sz="1200" b="1" i="1" spc="-10">
                <a:latin typeface="Calibri"/>
                <a:cs typeface="Calibri"/>
              </a:rPr>
              <a:t> County,</a:t>
            </a:r>
            <a:r>
              <a:rPr sz="1200" b="1" i="1" spc="-5">
                <a:latin typeface="Calibri"/>
                <a:cs typeface="Calibri"/>
              </a:rPr>
              <a:t> </a:t>
            </a:r>
            <a:r>
              <a:rPr sz="1200" b="1" i="1" spc="-10">
                <a:latin typeface="Calibri"/>
                <a:cs typeface="Calibri"/>
              </a:rPr>
              <a:t>2019-</a:t>
            </a:r>
            <a:r>
              <a:rPr sz="1200" b="1" i="1" spc="-20">
                <a:latin typeface="Calibri"/>
                <a:cs typeface="Calibri"/>
              </a:rPr>
              <a:t>2021</a:t>
            </a:r>
            <a:endParaRPr sz="1200">
              <a:latin typeface="Calibri"/>
              <a:cs typeface="Calibri"/>
            </a:endParaRPr>
          </a:p>
          <a:p>
            <a:pPr algn="ctr">
              <a:lnSpc>
                <a:spcPts val="1430"/>
              </a:lnSpc>
            </a:pPr>
            <a:r>
              <a:rPr sz="1200" b="1" i="1" spc="-10">
                <a:latin typeface="Calibri"/>
                <a:cs typeface="Calibri"/>
              </a:rPr>
              <a:t>(141)</a:t>
            </a:r>
            <a:endParaRPr sz="1200">
              <a:latin typeface="Calibri"/>
              <a:cs typeface="Calibri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3281224" y="181649"/>
            <a:ext cx="5626735" cy="6212205"/>
            <a:chOff x="3281224" y="181649"/>
            <a:chExt cx="5626735" cy="6212205"/>
          </a:xfrm>
        </p:grpSpPr>
        <p:pic>
          <p:nvPicPr>
            <p:cNvPr id="9" name="object 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281224" y="181649"/>
              <a:ext cx="5626375" cy="6211601"/>
            </a:xfrm>
            <a:prstGeom prst="rect">
              <a:avLst/>
            </a:prstGeom>
          </p:spPr>
        </p:pic>
        <p:sp>
          <p:nvSpPr>
            <p:cNvPr id="10" name="object 10"/>
            <p:cNvSpPr/>
            <p:nvPr/>
          </p:nvSpPr>
          <p:spPr>
            <a:xfrm>
              <a:off x="3669982" y="5281663"/>
              <a:ext cx="1733550" cy="845185"/>
            </a:xfrm>
            <a:custGeom>
              <a:avLst/>
              <a:gdLst/>
              <a:ahLst/>
              <a:cxnLst/>
              <a:rect l="l" t="t" r="r" b="b"/>
              <a:pathLst>
                <a:path w="1733550" h="845185">
                  <a:moveTo>
                    <a:pt x="1733476" y="0"/>
                  </a:moveTo>
                  <a:lnTo>
                    <a:pt x="0" y="0"/>
                  </a:lnTo>
                  <a:lnTo>
                    <a:pt x="0" y="844759"/>
                  </a:lnTo>
                  <a:lnTo>
                    <a:pt x="1733476" y="844759"/>
                  </a:lnTo>
                  <a:lnTo>
                    <a:pt x="1733476" y="0"/>
                  </a:lnTo>
                  <a:close/>
                </a:path>
              </a:pathLst>
            </a:custGeom>
            <a:solidFill>
              <a:srgbClr val="DAE3F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669982" y="5281663"/>
              <a:ext cx="1733550" cy="845185"/>
            </a:xfrm>
            <a:custGeom>
              <a:avLst/>
              <a:gdLst/>
              <a:ahLst/>
              <a:cxnLst/>
              <a:rect l="l" t="t" r="r" b="b"/>
              <a:pathLst>
                <a:path w="1733550" h="845185">
                  <a:moveTo>
                    <a:pt x="0" y="0"/>
                  </a:moveTo>
                  <a:lnTo>
                    <a:pt x="1733477" y="0"/>
                  </a:lnTo>
                  <a:lnTo>
                    <a:pt x="1733477" y="844760"/>
                  </a:lnTo>
                  <a:lnTo>
                    <a:pt x="0" y="844760"/>
                  </a:lnTo>
                  <a:lnTo>
                    <a:pt x="0" y="0"/>
                  </a:lnTo>
                  <a:close/>
                </a:path>
              </a:pathLst>
            </a:custGeom>
            <a:ln w="6350">
              <a:solidFill>
                <a:srgbClr val="4472C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3759290" y="5403596"/>
            <a:ext cx="1555115" cy="577215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12700" marR="5080" algn="ctr">
              <a:lnSpc>
                <a:spcPct val="105000"/>
              </a:lnSpc>
              <a:spcBef>
                <a:spcPts val="25"/>
              </a:spcBef>
            </a:pPr>
            <a:r>
              <a:rPr sz="1200" b="1" i="1" spc="-10" dirty="0">
                <a:latin typeface="Calibri"/>
                <a:cs typeface="Calibri"/>
              </a:rPr>
              <a:t>Sleep-</a:t>
            </a:r>
            <a:r>
              <a:rPr sz="1200" b="1" i="1" dirty="0">
                <a:latin typeface="Calibri"/>
                <a:cs typeface="Calibri"/>
              </a:rPr>
              <a:t>related</a:t>
            </a:r>
            <a:r>
              <a:rPr sz="1200" b="1" i="1" spc="-20" dirty="0">
                <a:latin typeface="Calibri"/>
                <a:cs typeface="Calibri"/>
              </a:rPr>
              <a:t> </a:t>
            </a:r>
            <a:r>
              <a:rPr sz="1200" b="1" i="1" dirty="0">
                <a:latin typeface="Calibri"/>
                <a:cs typeface="Calibri"/>
              </a:rPr>
              <a:t>SUID</a:t>
            </a:r>
            <a:r>
              <a:rPr sz="1200" b="1" i="1" spc="-15" dirty="0">
                <a:latin typeface="Calibri"/>
                <a:cs typeface="Calibri"/>
              </a:rPr>
              <a:t> </a:t>
            </a:r>
            <a:r>
              <a:rPr sz="1200" b="1" i="1" spc="-25" dirty="0">
                <a:latin typeface="Calibri"/>
                <a:cs typeface="Calibri"/>
              </a:rPr>
              <a:t>of </a:t>
            </a:r>
            <a:r>
              <a:rPr sz="1200" b="1" i="1" dirty="0">
                <a:latin typeface="Calibri"/>
                <a:cs typeface="Calibri"/>
              </a:rPr>
              <a:t>Cook</a:t>
            </a:r>
            <a:r>
              <a:rPr sz="1200" b="1" i="1" spc="-10" dirty="0">
                <a:latin typeface="Calibri"/>
                <a:cs typeface="Calibri"/>
              </a:rPr>
              <a:t> County,</a:t>
            </a:r>
            <a:r>
              <a:rPr sz="1200" b="1" i="1" spc="-5" dirty="0">
                <a:latin typeface="Calibri"/>
                <a:cs typeface="Calibri"/>
              </a:rPr>
              <a:t> </a:t>
            </a:r>
            <a:r>
              <a:rPr sz="1200" b="1" i="1" spc="-10" dirty="0">
                <a:latin typeface="Calibri"/>
                <a:cs typeface="Calibri"/>
              </a:rPr>
              <a:t>2019-</a:t>
            </a:r>
            <a:r>
              <a:rPr sz="1200" b="1" i="1" spc="-20" dirty="0">
                <a:latin typeface="Calibri"/>
                <a:cs typeface="Calibri"/>
              </a:rPr>
              <a:t>2022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ts val="1390"/>
              </a:lnSpc>
            </a:pPr>
            <a:r>
              <a:rPr sz="1200" b="1" i="1" spc="-10" dirty="0">
                <a:latin typeface="Calibri"/>
                <a:cs typeface="Calibri"/>
              </a:rPr>
              <a:t>(173)</a:t>
            </a:r>
            <a:endParaRPr sz="12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378679" y="240960"/>
            <a:ext cx="4490249" cy="6057242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4744370" y="6421628"/>
            <a:ext cx="270383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SUID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ok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unty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ase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Registry</a:t>
            </a:r>
            <a:r>
              <a:rPr sz="1200" spc="-3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 spc="-10">
                <a:solidFill>
                  <a:srgbClr val="898989"/>
                </a:solidFill>
                <a:latin typeface="Calibri"/>
                <a:cs typeface="Calibri"/>
              </a:rPr>
              <a:t>2019-</a:t>
            </a:r>
            <a:r>
              <a:rPr sz="1200" spc="-20">
                <a:solidFill>
                  <a:srgbClr val="898989"/>
                </a:solidFill>
                <a:latin typeface="Calibri"/>
                <a:cs typeface="Calibri"/>
              </a:rPr>
              <a:t>2022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6641629"/>
            <a:ext cx="12188825" cy="216535"/>
          </a:xfrm>
          <a:custGeom>
            <a:avLst/>
            <a:gdLst/>
            <a:ahLst/>
            <a:cxnLst/>
            <a:rect l="l" t="t" r="r" b="b"/>
            <a:pathLst>
              <a:path w="12188825" h="216534">
                <a:moveTo>
                  <a:pt x="12188825" y="0"/>
                </a:moveTo>
                <a:lnTo>
                  <a:pt x="0" y="0"/>
                </a:lnTo>
                <a:lnTo>
                  <a:pt x="0" y="216369"/>
                </a:lnTo>
                <a:lnTo>
                  <a:pt x="12188825" y="216369"/>
                </a:lnTo>
                <a:lnTo>
                  <a:pt x="12188825" y="0"/>
                </a:lnTo>
                <a:close/>
              </a:path>
            </a:pathLst>
          </a:custGeom>
          <a:solidFill>
            <a:srgbClr val="00B5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475720" y="1883155"/>
            <a:ext cx="6834505" cy="1948814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2700" marR="27305">
              <a:lnSpc>
                <a:spcPct val="101699"/>
              </a:lnSpc>
              <a:spcBef>
                <a:spcPts val="60"/>
              </a:spcBef>
            </a:pPr>
            <a:r>
              <a:rPr sz="1800">
                <a:latin typeface="Calibri"/>
                <a:cs typeface="Calibri"/>
              </a:rPr>
              <a:t>The</a:t>
            </a:r>
            <a:r>
              <a:rPr sz="1800" spc="-2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health</a:t>
            </a:r>
            <a:r>
              <a:rPr sz="1800" spc="-2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of</a:t>
            </a:r>
            <a:r>
              <a:rPr sz="1800" spc="-2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a</a:t>
            </a:r>
            <a:r>
              <a:rPr sz="1800" spc="-2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community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that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is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home</a:t>
            </a:r>
            <a:r>
              <a:rPr sz="1800" spc="-2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to</a:t>
            </a:r>
            <a:r>
              <a:rPr sz="1800" spc="-2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an</a:t>
            </a:r>
            <a:r>
              <a:rPr sz="1800" spc="-2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infant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is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part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of</a:t>
            </a:r>
            <a:r>
              <a:rPr sz="1800" spc="-25">
                <a:latin typeface="Calibri"/>
                <a:cs typeface="Calibri"/>
              </a:rPr>
              <a:t> the </a:t>
            </a:r>
            <a:r>
              <a:rPr sz="1800" spc="-10">
                <a:latin typeface="Calibri"/>
                <a:cs typeface="Calibri"/>
              </a:rPr>
              <a:t>environment</a:t>
            </a:r>
            <a:r>
              <a:rPr sz="1800" spc="-4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that</a:t>
            </a:r>
            <a:r>
              <a:rPr sz="1800" spc="-4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may</a:t>
            </a:r>
            <a:r>
              <a:rPr sz="1800" spc="-4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place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an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infant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at</a:t>
            </a:r>
            <a:r>
              <a:rPr sz="1800" spc="-4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risk</a:t>
            </a:r>
            <a:r>
              <a:rPr sz="1800" spc="-4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for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–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or</a:t>
            </a:r>
            <a:r>
              <a:rPr sz="1800" spc="-4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protect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them</a:t>
            </a:r>
            <a:r>
              <a:rPr sz="1800" spc="-4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from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 spc="-50">
                <a:latin typeface="Calibri"/>
                <a:cs typeface="Calibri"/>
              </a:rPr>
              <a:t>– </a:t>
            </a:r>
            <a:r>
              <a:rPr sz="1800" spc="-10">
                <a:latin typeface="Calibri"/>
                <a:cs typeface="Calibri"/>
              </a:rPr>
              <a:t>SUID.</a:t>
            </a:r>
            <a:endParaRPr sz="1800">
              <a:latin typeface="Calibri"/>
              <a:cs typeface="Calibri"/>
            </a:endParaRPr>
          </a:p>
          <a:p>
            <a:pPr marL="12700" marR="5080">
              <a:lnSpc>
                <a:spcPct val="99400"/>
              </a:lnSpc>
              <a:spcBef>
                <a:spcPts val="2150"/>
              </a:spcBef>
            </a:pPr>
            <a:r>
              <a:rPr sz="1800">
                <a:latin typeface="Calibri"/>
                <a:cs typeface="Calibri"/>
              </a:rPr>
              <a:t>SUID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 spc="-10">
                <a:latin typeface="Calibri"/>
                <a:cs typeface="Calibri"/>
              </a:rPr>
              <a:t>prevention</a:t>
            </a:r>
            <a:r>
              <a:rPr sz="1800" spc="-2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means</a:t>
            </a:r>
            <a:r>
              <a:rPr sz="1800" spc="-45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addressing</a:t>
            </a:r>
            <a:r>
              <a:rPr sz="1800" b="1" spc="-35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the</a:t>
            </a:r>
            <a:r>
              <a:rPr sz="1800" b="1" spc="-40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root</a:t>
            </a:r>
            <a:r>
              <a:rPr sz="1800" b="1" spc="-30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causes</a:t>
            </a:r>
            <a:r>
              <a:rPr sz="1800" b="1" spc="-40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of</a:t>
            </a:r>
            <a:r>
              <a:rPr sz="1800" b="1" spc="-25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health</a:t>
            </a:r>
            <a:r>
              <a:rPr sz="1800" b="1" spc="-35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inequities</a:t>
            </a:r>
            <a:r>
              <a:rPr sz="1800" b="1" spc="-50">
                <a:latin typeface="Calibri"/>
                <a:cs typeface="Calibri"/>
              </a:rPr>
              <a:t> </a:t>
            </a:r>
            <a:r>
              <a:rPr sz="1800" spc="-50">
                <a:latin typeface="Calibri"/>
                <a:cs typeface="Calibri"/>
              </a:rPr>
              <a:t>– </a:t>
            </a:r>
            <a:r>
              <a:rPr sz="1800" b="1">
                <a:latin typeface="Calibri"/>
                <a:cs typeface="Calibri"/>
              </a:rPr>
              <a:t>alongside</a:t>
            </a:r>
            <a:r>
              <a:rPr sz="1800" b="1" spc="-50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promoting</a:t>
            </a:r>
            <a:r>
              <a:rPr sz="1800" b="1" spc="-45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safe</a:t>
            </a:r>
            <a:r>
              <a:rPr sz="1800" b="1" spc="-50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sleep</a:t>
            </a:r>
            <a:r>
              <a:rPr sz="1800" b="1" spc="-45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approaches</a:t>
            </a:r>
            <a:r>
              <a:rPr sz="1800" b="1" spc="-45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that</a:t>
            </a:r>
            <a:r>
              <a:rPr sz="1800" b="1" spc="-45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work</a:t>
            </a:r>
            <a:r>
              <a:rPr sz="1800" b="1" spc="-5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–</a:t>
            </a:r>
            <a:r>
              <a:rPr sz="1800" spc="-4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to</a:t>
            </a:r>
            <a:r>
              <a:rPr sz="1800" spc="-4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protect</a:t>
            </a:r>
            <a:r>
              <a:rPr sz="1800" spc="-45">
                <a:latin typeface="Calibri"/>
                <a:cs typeface="Calibri"/>
              </a:rPr>
              <a:t> </a:t>
            </a:r>
            <a:r>
              <a:rPr sz="1800" spc="-25">
                <a:latin typeface="Calibri"/>
                <a:cs typeface="Calibri"/>
              </a:rPr>
              <a:t>our </a:t>
            </a:r>
            <a:r>
              <a:rPr sz="1800" spc="-10">
                <a:latin typeface="Calibri"/>
                <a:cs typeface="Calibri"/>
              </a:rPr>
              <a:t>infants,</a:t>
            </a:r>
            <a:r>
              <a:rPr sz="1800" spc="-4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families</a:t>
            </a:r>
            <a:r>
              <a:rPr sz="1800" spc="-4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and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 spc="-10">
                <a:latin typeface="Calibri"/>
                <a:cs typeface="Calibri"/>
              </a:rPr>
              <a:t>communities.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540422" y="499363"/>
            <a:ext cx="291465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spc="-20">
                <a:solidFill>
                  <a:srgbClr val="006232"/>
                </a:solidFill>
                <a:latin typeface="Arial"/>
                <a:cs typeface="Arial"/>
              </a:rPr>
              <a:t>Towards</a:t>
            </a:r>
            <a:r>
              <a:rPr sz="2400" b="1" spc="-105">
                <a:solidFill>
                  <a:srgbClr val="006232"/>
                </a:solidFill>
                <a:latin typeface="Arial"/>
                <a:cs typeface="Arial"/>
              </a:rPr>
              <a:t> </a:t>
            </a:r>
            <a:r>
              <a:rPr sz="2400" b="1" spc="-10">
                <a:solidFill>
                  <a:srgbClr val="006232"/>
                </a:solidFill>
                <a:latin typeface="Arial"/>
                <a:cs typeface="Arial"/>
              </a:rPr>
              <a:t>Prevention</a:t>
            </a:r>
            <a:endParaRPr sz="24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744370" y="6421628"/>
            <a:ext cx="270383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SUID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ok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unty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ase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Registry</a:t>
            </a:r>
            <a:r>
              <a:rPr sz="1200" spc="-3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 spc="-10">
                <a:solidFill>
                  <a:srgbClr val="898989"/>
                </a:solidFill>
                <a:latin typeface="Calibri"/>
                <a:cs typeface="Calibri"/>
              </a:rPr>
              <a:t>2019-</a:t>
            </a:r>
            <a:r>
              <a:rPr sz="1200" spc="-20">
                <a:solidFill>
                  <a:srgbClr val="898989"/>
                </a:solidFill>
                <a:latin typeface="Calibri"/>
                <a:cs typeface="Calibri"/>
              </a:rPr>
              <a:t>2022</a:t>
            </a:r>
            <a:endParaRPr sz="1200">
              <a:latin typeface="Calibri"/>
              <a:cs typeface="Calibri"/>
            </a:endParaRP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722123" y="1822583"/>
            <a:ext cx="1849426" cy="487529"/>
          </a:xfrm>
          <a:prstGeom prst="rect">
            <a:avLst/>
          </a:prstGeom>
        </p:spPr>
      </p:pic>
      <p:sp>
        <p:nvSpPr>
          <p:cNvPr id="4" name="object 4"/>
          <p:cNvSpPr/>
          <p:nvPr/>
        </p:nvSpPr>
        <p:spPr>
          <a:xfrm>
            <a:off x="0" y="6641629"/>
            <a:ext cx="12188825" cy="216535"/>
          </a:xfrm>
          <a:custGeom>
            <a:avLst/>
            <a:gdLst/>
            <a:ahLst/>
            <a:cxnLst/>
            <a:rect l="l" t="t" r="r" b="b"/>
            <a:pathLst>
              <a:path w="12188825" h="216534">
                <a:moveTo>
                  <a:pt x="12188825" y="0"/>
                </a:moveTo>
                <a:lnTo>
                  <a:pt x="0" y="0"/>
                </a:lnTo>
                <a:lnTo>
                  <a:pt x="0" y="216369"/>
                </a:lnTo>
                <a:lnTo>
                  <a:pt x="12188825" y="216369"/>
                </a:lnTo>
                <a:lnTo>
                  <a:pt x="12188825" y="0"/>
                </a:lnTo>
                <a:close/>
              </a:path>
            </a:pathLst>
          </a:custGeom>
          <a:solidFill>
            <a:srgbClr val="00B58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819461" y="3475323"/>
            <a:ext cx="1752087" cy="1608847"/>
          </a:xfrm>
          <a:prstGeom prst="rect">
            <a:avLst/>
          </a:prstGeom>
        </p:spPr>
      </p:pic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5225136" y="1243076"/>
            <a:ext cx="162052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spc="-10">
                <a:solidFill>
                  <a:srgbClr val="1E4D10"/>
                </a:solidFill>
                <a:latin typeface="Calibri"/>
                <a:cs typeface="Calibri"/>
              </a:rPr>
              <a:t>Contributors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225136" y="1624076"/>
            <a:ext cx="3972560" cy="304292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marR="1686560">
              <a:lnSpc>
                <a:spcPct val="98900"/>
              </a:lnSpc>
              <a:spcBef>
                <a:spcPts val="120"/>
              </a:spcBef>
            </a:pPr>
            <a:r>
              <a:rPr sz="1800" spc="-20">
                <a:latin typeface="Calibri"/>
                <a:cs typeface="Calibri"/>
              </a:rPr>
              <a:t>Kyran</a:t>
            </a:r>
            <a:r>
              <a:rPr sz="1800" spc="-5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Quinlan</a:t>
            </a:r>
            <a:r>
              <a:rPr sz="1800" spc="-5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MD,</a:t>
            </a:r>
            <a:r>
              <a:rPr sz="1800" spc="-55">
                <a:latin typeface="Calibri"/>
                <a:cs typeface="Calibri"/>
              </a:rPr>
              <a:t> </a:t>
            </a:r>
            <a:r>
              <a:rPr sz="1800" spc="-25">
                <a:latin typeface="Calibri"/>
                <a:cs typeface="Calibri"/>
              </a:rPr>
              <a:t>MPH </a:t>
            </a:r>
            <a:r>
              <a:rPr sz="1800">
                <a:latin typeface="Calibri"/>
                <a:cs typeface="Calibri"/>
              </a:rPr>
              <a:t>Gina</a:t>
            </a:r>
            <a:r>
              <a:rPr sz="1800" spc="-5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Lowell</a:t>
            </a:r>
            <a:r>
              <a:rPr sz="1800" spc="-5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MD,</a:t>
            </a:r>
            <a:r>
              <a:rPr sz="1800" spc="-50">
                <a:latin typeface="Calibri"/>
                <a:cs typeface="Calibri"/>
              </a:rPr>
              <a:t> </a:t>
            </a:r>
            <a:r>
              <a:rPr sz="1800" spc="-25">
                <a:latin typeface="Calibri"/>
                <a:cs typeface="Calibri"/>
              </a:rPr>
              <a:t>MPH </a:t>
            </a:r>
            <a:r>
              <a:rPr sz="1800" i="1">
                <a:solidFill>
                  <a:srgbClr val="595959"/>
                </a:solidFill>
                <a:latin typeface="Calibri"/>
                <a:cs typeface="Calibri"/>
              </a:rPr>
              <a:t>Abbey</a:t>
            </a:r>
            <a:r>
              <a:rPr sz="1800" i="1" spc="-35">
                <a:solidFill>
                  <a:srgbClr val="595959"/>
                </a:solidFill>
                <a:latin typeface="Calibri"/>
                <a:cs typeface="Calibri"/>
              </a:rPr>
              <a:t> </a:t>
            </a:r>
            <a:r>
              <a:rPr sz="1800" i="1">
                <a:solidFill>
                  <a:srgbClr val="595959"/>
                </a:solidFill>
                <a:latin typeface="Calibri"/>
                <a:cs typeface="Calibri"/>
              </a:rPr>
              <a:t>Mastroianni</a:t>
            </a:r>
            <a:r>
              <a:rPr sz="1800" i="1" spc="-30">
                <a:solidFill>
                  <a:srgbClr val="595959"/>
                </a:solidFill>
                <a:latin typeface="Calibri"/>
                <a:cs typeface="Calibri"/>
              </a:rPr>
              <a:t> </a:t>
            </a:r>
            <a:r>
              <a:rPr sz="1800" i="1" spc="-25">
                <a:solidFill>
                  <a:srgbClr val="595959"/>
                </a:solidFill>
                <a:latin typeface="Calibri"/>
                <a:cs typeface="Calibri"/>
              </a:rPr>
              <a:t>MPH </a:t>
            </a:r>
            <a:r>
              <a:rPr sz="1800">
                <a:latin typeface="Calibri"/>
                <a:cs typeface="Calibri"/>
              </a:rPr>
              <a:t>Rojin</a:t>
            </a:r>
            <a:r>
              <a:rPr sz="1800" spc="-4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Ahadi</a:t>
            </a:r>
            <a:r>
              <a:rPr sz="1800" spc="-50">
                <a:latin typeface="Calibri"/>
                <a:cs typeface="Calibri"/>
              </a:rPr>
              <a:t> </a:t>
            </a:r>
            <a:r>
              <a:rPr sz="1800" spc="-25">
                <a:latin typeface="Calibri"/>
                <a:cs typeface="Calibri"/>
              </a:rPr>
              <a:t>MPH</a:t>
            </a:r>
            <a:endParaRPr sz="18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50"/>
              </a:spcBef>
            </a:pPr>
            <a:r>
              <a:rPr sz="1800">
                <a:latin typeface="Calibri"/>
                <a:cs typeface="Calibri"/>
              </a:rPr>
              <a:t>Felicia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Clark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 spc="-20">
                <a:latin typeface="Calibri"/>
                <a:cs typeface="Calibri"/>
              </a:rPr>
              <a:t>D-ABMDI</a:t>
            </a:r>
            <a:endParaRPr sz="1800">
              <a:latin typeface="Calibri"/>
              <a:cs typeface="Calibri"/>
            </a:endParaRPr>
          </a:p>
          <a:p>
            <a:pPr marL="12700" marR="5080">
              <a:lnSpc>
                <a:spcPts val="2110"/>
              </a:lnSpc>
              <a:spcBef>
                <a:spcPts val="135"/>
              </a:spcBef>
            </a:pPr>
            <a:r>
              <a:rPr sz="1800">
                <a:latin typeface="Calibri"/>
                <a:cs typeface="Calibri"/>
              </a:rPr>
              <a:t>Christie</a:t>
            </a:r>
            <a:r>
              <a:rPr sz="1800" spc="-6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Lawrence</a:t>
            </a:r>
            <a:r>
              <a:rPr sz="1800" spc="-50">
                <a:latin typeface="Calibri"/>
                <a:cs typeface="Calibri"/>
              </a:rPr>
              <a:t> </a:t>
            </a:r>
            <a:r>
              <a:rPr sz="1800" spc="-55">
                <a:latin typeface="Calibri"/>
                <a:cs typeface="Calibri"/>
              </a:rPr>
              <a:t>DNP,</a:t>
            </a:r>
            <a:r>
              <a:rPr sz="1800" spc="-50">
                <a:latin typeface="Calibri"/>
                <a:cs typeface="Calibri"/>
              </a:rPr>
              <a:t> </a:t>
            </a:r>
            <a:r>
              <a:rPr sz="1800" spc="-10">
                <a:latin typeface="Calibri"/>
                <a:cs typeface="Calibri"/>
              </a:rPr>
              <a:t>RNC-</a:t>
            </a:r>
            <a:r>
              <a:rPr sz="1800">
                <a:latin typeface="Calibri"/>
                <a:cs typeface="Calibri"/>
              </a:rPr>
              <a:t>NIC,</a:t>
            </a:r>
            <a:r>
              <a:rPr sz="1800" spc="-55">
                <a:latin typeface="Calibri"/>
                <a:cs typeface="Calibri"/>
              </a:rPr>
              <a:t> </a:t>
            </a:r>
            <a:r>
              <a:rPr sz="1800" spc="-10">
                <a:latin typeface="Calibri"/>
                <a:cs typeface="Calibri"/>
              </a:rPr>
              <a:t>APN/CNS </a:t>
            </a:r>
            <a:r>
              <a:rPr sz="1800">
                <a:latin typeface="Calibri"/>
                <a:cs typeface="Calibri"/>
              </a:rPr>
              <a:t>Sumihiro</a:t>
            </a:r>
            <a:r>
              <a:rPr sz="1800" spc="-6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Suzuki</a:t>
            </a:r>
            <a:r>
              <a:rPr sz="1800" spc="-60">
                <a:latin typeface="Calibri"/>
                <a:cs typeface="Calibri"/>
              </a:rPr>
              <a:t> </a:t>
            </a:r>
            <a:r>
              <a:rPr sz="1800" spc="-25">
                <a:latin typeface="Calibri"/>
                <a:cs typeface="Calibri"/>
              </a:rPr>
              <a:t>PhD</a:t>
            </a:r>
            <a:endParaRPr sz="1800">
              <a:latin typeface="Calibri"/>
              <a:cs typeface="Calibri"/>
            </a:endParaRPr>
          </a:p>
          <a:p>
            <a:pPr marL="12700" marR="1958339">
              <a:lnSpc>
                <a:spcPct val="102200"/>
              </a:lnSpc>
              <a:spcBef>
                <a:spcPts val="2030"/>
              </a:spcBef>
            </a:pPr>
            <a:r>
              <a:rPr sz="1800" i="1">
                <a:solidFill>
                  <a:srgbClr val="595959"/>
                </a:solidFill>
                <a:latin typeface="Calibri"/>
                <a:cs typeface="Calibri"/>
              </a:rPr>
              <a:t>Eric</a:t>
            </a:r>
            <a:r>
              <a:rPr sz="1800" i="1" spc="-50">
                <a:solidFill>
                  <a:srgbClr val="595959"/>
                </a:solidFill>
                <a:latin typeface="Calibri"/>
                <a:cs typeface="Calibri"/>
              </a:rPr>
              <a:t> </a:t>
            </a:r>
            <a:r>
              <a:rPr sz="1800" i="1">
                <a:solidFill>
                  <a:srgbClr val="595959"/>
                </a:solidFill>
                <a:latin typeface="Calibri"/>
                <a:cs typeface="Calibri"/>
              </a:rPr>
              <a:t>Eason</a:t>
            </a:r>
            <a:r>
              <a:rPr sz="1800" i="1" spc="-50">
                <a:solidFill>
                  <a:srgbClr val="595959"/>
                </a:solidFill>
                <a:latin typeface="Calibri"/>
                <a:cs typeface="Calibri"/>
              </a:rPr>
              <a:t> </a:t>
            </a:r>
            <a:r>
              <a:rPr sz="1800" i="1" spc="-25">
                <a:solidFill>
                  <a:srgbClr val="595959"/>
                </a:solidFill>
                <a:latin typeface="Calibri"/>
                <a:cs typeface="Calibri"/>
              </a:rPr>
              <a:t>MD </a:t>
            </a:r>
            <a:r>
              <a:rPr sz="1800" i="1">
                <a:solidFill>
                  <a:srgbClr val="595959"/>
                </a:solidFill>
                <a:latin typeface="Calibri"/>
                <a:cs typeface="Calibri"/>
              </a:rPr>
              <a:t>Michael</a:t>
            </a:r>
            <a:r>
              <a:rPr sz="1800" i="1" spc="-40">
                <a:solidFill>
                  <a:srgbClr val="595959"/>
                </a:solidFill>
                <a:latin typeface="Calibri"/>
                <a:cs typeface="Calibri"/>
              </a:rPr>
              <a:t> </a:t>
            </a:r>
            <a:r>
              <a:rPr sz="1800" i="1">
                <a:solidFill>
                  <a:srgbClr val="595959"/>
                </a:solidFill>
                <a:latin typeface="Calibri"/>
                <a:cs typeface="Calibri"/>
              </a:rPr>
              <a:t>Eckhardt</a:t>
            </a:r>
            <a:r>
              <a:rPr sz="1800" i="1" spc="-40">
                <a:solidFill>
                  <a:srgbClr val="595959"/>
                </a:solidFill>
                <a:latin typeface="Calibri"/>
                <a:cs typeface="Calibri"/>
              </a:rPr>
              <a:t> </a:t>
            </a:r>
            <a:r>
              <a:rPr sz="1800" i="1" spc="-25">
                <a:solidFill>
                  <a:srgbClr val="595959"/>
                </a:solidFill>
                <a:latin typeface="Calibri"/>
                <a:cs typeface="Calibri"/>
              </a:rPr>
              <a:t>MD</a:t>
            </a:r>
            <a:endParaRPr sz="18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800">
                <a:latin typeface="Calibri"/>
                <a:cs typeface="Calibri"/>
              </a:rPr>
              <a:t>Meredith</a:t>
            </a:r>
            <a:r>
              <a:rPr sz="1800" spc="-8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Reynolds</a:t>
            </a:r>
            <a:r>
              <a:rPr sz="1800" spc="-85">
                <a:latin typeface="Calibri"/>
                <a:cs typeface="Calibri"/>
              </a:rPr>
              <a:t> </a:t>
            </a:r>
            <a:r>
              <a:rPr sz="1800" spc="-25">
                <a:latin typeface="Calibri"/>
                <a:cs typeface="Calibri"/>
              </a:rPr>
              <a:t>MD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132944" y="5379102"/>
            <a:ext cx="9923145" cy="871219"/>
          </a:xfrm>
          <a:prstGeom prst="rect">
            <a:avLst/>
          </a:prstGeom>
          <a:ln w="9525">
            <a:solidFill>
              <a:srgbClr val="44546A"/>
            </a:solidFill>
          </a:ln>
        </p:spPr>
        <p:txBody>
          <a:bodyPr vert="horz" wrap="square" lIns="0" tIns="8890" rIns="0" bIns="0" rtlCol="0">
            <a:spAutoFit/>
          </a:bodyPr>
          <a:lstStyle/>
          <a:p>
            <a:pPr marL="91440" marR="226060">
              <a:lnSpc>
                <a:spcPct val="109400"/>
              </a:lnSpc>
              <a:spcBef>
                <a:spcPts val="70"/>
              </a:spcBef>
            </a:pP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We</a:t>
            </a:r>
            <a:r>
              <a:rPr sz="1600" b="1" i="1" spc="-4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extend</a:t>
            </a:r>
            <a:r>
              <a:rPr sz="1600" b="1" i="1" spc="-3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our</a:t>
            </a:r>
            <a:r>
              <a:rPr sz="1600" b="1" i="1" spc="-4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deepest</a:t>
            </a:r>
            <a:r>
              <a:rPr sz="1600" b="1" i="1" spc="-4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gratitude</a:t>
            </a:r>
            <a:r>
              <a:rPr sz="1600" b="1" i="1" spc="-4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to</a:t>
            </a:r>
            <a:r>
              <a:rPr sz="1600" b="1" i="1" spc="-3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the</a:t>
            </a:r>
            <a:r>
              <a:rPr sz="1600" b="1" i="1" spc="-4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181</a:t>
            </a:r>
            <a:r>
              <a:rPr sz="1600" b="1" i="1" spc="-4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Cook</a:t>
            </a:r>
            <a:r>
              <a:rPr sz="1600" b="1" i="1" spc="-4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County</a:t>
            </a:r>
            <a:r>
              <a:rPr sz="1600" b="1" i="1" spc="-4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families</a:t>
            </a:r>
            <a:r>
              <a:rPr sz="1600" b="1" i="1" spc="-4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who</a:t>
            </a:r>
            <a:r>
              <a:rPr sz="1600" b="1" i="1" spc="-3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lost</a:t>
            </a:r>
            <a:r>
              <a:rPr sz="1600" b="1" i="1" spc="-4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their</a:t>
            </a:r>
            <a:r>
              <a:rPr sz="1600" b="1" i="1" spc="-4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treasured</a:t>
            </a:r>
            <a:r>
              <a:rPr sz="1600" b="1" i="1" spc="-3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infants.</a:t>
            </a:r>
            <a:r>
              <a:rPr sz="1600" b="1" i="1" spc="-4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Without</a:t>
            </a:r>
            <a:r>
              <a:rPr sz="1600" b="1" i="1" spc="-4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 spc="-10">
                <a:solidFill>
                  <a:srgbClr val="1A1A1A"/>
                </a:solidFill>
                <a:latin typeface="Calibri"/>
                <a:cs typeface="Calibri"/>
              </a:rPr>
              <a:t>their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participation</a:t>
            </a:r>
            <a:r>
              <a:rPr sz="1600" b="1" i="1" spc="-3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in</a:t>
            </a:r>
            <a:r>
              <a:rPr sz="1600" b="1" i="1" spc="-2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the</a:t>
            </a:r>
            <a:r>
              <a:rPr sz="1600" b="1" i="1" spc="-3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multiple</a:t>
            </a:r>
            <a:r>
              <a:rPr sz="1600" b="1" i="1" spc="-3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 spc="-10">
                <a:solidFill>
                  <a:srgbClr val="1A1A1A"/>
                </a:solidFill>
                <a:latin typeface="Calibri"/>
                <a:cs typeface="Calibri"/>
              </a:rPr>
              <a:t>investigations</a:t>
            </a:r>
            <a:r>
              <a:rPr sz="1600" b="1" i="1" spc="-4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into</a:t>
            </a:r>
            <a:r>
              <a:rPr sz="1600" b="1" i="1" spc="-3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the</a:t>
            </a:r>
            <a:r>
              <a:rPr sz="1600" b="1" i="1" spc="-3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cause</a:t>
            </a:r>
            <a:r>
              <a:rPr sz="1600" b="1" i="1" spc="-3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of</a:t>
            </a:r>
            <a:r>
              <a:rPr sz="1600" b="1" i="1" spc="-3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their</a:t>
            </a:r>
            <a:r>
              <a:rPr sz="1600" b="1" i="1" spc="-3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infants’</a:t>
            </a:r>
            <a:r>
              <a:rPr sz="1600" b="1" i="1" spc="-3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deaths,</a:t>
            </a:r>
            <a:r>
              <a:rPr sz="1600" b="1" i="1" spc="-3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we</a:t>
            </a:r>
            <a:r>
              <a:rPr sz="1600" b="1" i="1" spc="-3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would</a:t>
            </a:r>
            <a:r>
              <a:rPr sz="1600" b="1" i="1" spc="-2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not</a:t>
            </a:r>
            <a:r>
              <a:rPr sz="1600" b="1" i="1" spc="-4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have</a:t>
            </a:r>
            <a:r>
              <a:rPr sz="1600" b="1" i="1" spc="-3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the</a:t>
            </a:r>
            <a:r>
              <a:rPr sz="1600" b="1" i="1" spc="-3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ability</a:t>
            </a:r>
            <a:r>
              <a:rPr sz="1600" b="1" i="1" spc="-4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 spc="-25">
                <a:solidFill>
                  <a:srgbClr val="1A1A1A"/>
                </a:solidFill>
                <a:latin typeface="Calibri"/>
                <a:cs typeface="Calibri"/>
              </a:rPr>
              <a:t>to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know</a:t>
            </a:r>
            <a:r>
              <a:rPr sz="1600" b="1" i="1" spc="-3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more</a:t>
            </a:r>
            <a:r>
              <a:rPr sz="1600" b="1" i="1" spc="-3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fully</a:t>
            </a:r>
            <a:r>
              <a:rPr sz="1600" b="1" i="1" spc="-3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the</a:t>
            </a:r>
            <a:r>
              <a:rPr sz="1600" b="1" i="1" spc="-3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 spc="-10">
                <a:solidFill>
                  <a:srgbClr val="1A1A1A"/>
                </a:solidFill>
                <a:latin typeface="Calibri"/>
                <a:cs typeface="Calibri"/>
              </a:rPr>
              <a:t>circumstances</a:t>
            </a:r>
            <a:r>
              <a:rPr sz="1600" b="1" i="1" spc="-3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of</a:t>
            </a:r>
            <a:r>
              <a:rPr sz="1600" b="1" i="1" spc="-2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their</a:t>
            </a:r>
            <a:r>
              <a:rPr sz="1600" b="1" i="1" spc="-3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deaths</a:t>
            </a:r>
            <a:r>
              <a:rPr sz="1600" b="1" i="1" spc="-4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in</a:t>
            </a:r>
            <a:r>
              <a:rPr sz="1600" b="1" i="1" spc="-2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order</a:t>
            </a:r>
            <a:r>
              <a:rPr sz="1600" b="1" i="1" spc="-3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to</a:t>
            </a:r>
            <a:r>
              <a:rPr sz="1600" b="1" i="1" spc="-2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better</a:t>
            </a:r>
            <a:r>
              <a:rPr sz="1600" b="1" i="1" spc="-3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 spc="-10">
                <a:solidFill>
                  <a:srgbClr val="1A1A1A"/>
                </a:solidFill>
                <a:latin typeface="Calibri"/>
                <a:cs typeface="Calibri"/>
              </a:rPr>
              <a:t>understand</a:t>
            </a:r>
            <a:r>
              <a:rPr sz="1600" b="1" i="1" spc="-2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how</a:t>
            </a:r>
            <a:r>
              <a:rPr sz="1600" b="1" i="1" spc="-30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to</a:t>
            </a:r>
            <a:r>
              <a:rPr sz="1600" b="1" i="1" spc="-2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>
                <a:solidFill>
                  <a:srgbClr val="1A1A1A"/>
                </a:solidFill>
                <a:latin typeface="Calibri"/>
                <a:cs typeface="Calibri"/>
              </a:rPr>
              <a:t>prevent</a:t>
            </a:r>
            <a:r>
              <a:rPr sz="1600" b="1" i="1" spc="-35">
                <a:solidFill>
                  <a:srgbClr val="1A1A1A"/>
                </a:solidFill>
                <a:latin typeface="Calibri"/>
                <a:cs typeface="Calibri"/>
              </a:rPr>
              <a:t> </a:t>
            </a:r>
            <a:r>
              <a:rPr sz="1600" b="1" i="1" spc="-10">
                <a:solidFill>
                  <a:srgbClr val="1A1A1A"/>
                </a:solidFill>
                <a:latin typeface="Calibri"/>
                <a:cs typeface="Calibri"/>
              </a:rPr>
              <a:t>them.</a:t>
            </a:r>
            <a:endParaRPr sz="16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-2692685" y="346181"/>
            <a:ext cx="14991709" cy="1919499"/>
          </a:xfrm>
          <a:prstGeom prst="rect">
            <a:avLst/>
          </a:prstGeom>
        </p:spPr>
        <p:txBody>
          <a:bodyPr vert="horz" wrap="square" lIns="0" tIns="618235" rIns="0" bIns="0" rtlCol="0">
            <a:spAutoFit/>
          </a:bodyPr>
          <a:lstStyle/>
          <a:p>
            <a:pPr marL="3448050" marR="5080" indent="-2303145" algn="ctr">
              <a:lnSpc>
                <a:spcPts val="4700"/>
              </a:lnSpc>
              <a:spcBef>
                <a:spcPts val="740"/>
              </a:spcBef>
            </a:pPr>
            <a:r>
              <a:rPr lang="en-US" sz="4000" spc="-10">
                <a:solidFill>
                  <a:srgbClr val="4472C4"/>
                </a:solidFill>
                <a:latin typeface="Calibri"/>
                <a:cs typeface="Calibri"/>
              </a:rPr>
              <a:t>   </a:t>
            </a:r>
            <a:r>
              <a:rPr sz="4000" b="0" spc="-10">
                <a:solidFill>
                  <a:srgbClr val="4472C4"/>
                </a:solidFill>
                <a:latin typeface="Calibri"/>
                <a:cs typeface="Calibri"/>
              </a:rPr>
              <a:t>Preventing</a:t>
            </a:r>
            <a:r>
              <a:rPr sz="4000" b="0" spc="-15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4000" b="0">
                <a:solidFill>
                  <a:srgbClr val="4472C4"/>
                </a:solidFill>
                <a:latin typeface="Calibri"/>
                <a:cs typeface="Calibri"/>
              </a:rPr>
              <a:t>SUID:</a:t>
            </a:r>
            <a:r>
              <a:rPr sz="4000" b="0" spc="-15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br>
              <a:rPr lang="en-US" sz="4000" spc="-150">
                <a:solidFill>
                  <a:srgbClr val="4472C4"/>
                </a:solidFill>
                <a:latin typeface="Calibri"/>
                <a:cs typeface="Calibri"/>
              </a:rPr>
            </a:br>
            <a:r>
              <a:rPr sz="4000" b="0" spc="-30">
                <a:solidFill>
                  <a:srgbClr val="4472C4"/>
                </a:solidFill>
                <a:latin typeface="Calibri"/>
                <a:cs typeface="Calibri"/>
              </a:rPr>
              <a:t>Turning</a:t>
            </a:r>
            <a:r>
              <a:rPr sz="4000" b="0" spc="-15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4000" b="0">
                <a:solidFill>
                  <a:srgbClr val="4472C4"/>
                </a:solidFill>
                <a:latin typeface="Calibri"/>
                <a:cs typeface="Calibri"/>
              </a:rPr>
              <a:t>Data</a:t>
            </a:r>
            <a:r>
              <a:rPr sz="4000" b="0" spc="-14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4000" b="0">
                <a:solidFill>
                  <a:srgbClr val="4472C4"/>
                </a:solidFill>
                <a:latin typeface="Calibri"/>
                <a:cs typeface="Calibri"/>
              </a:rPr>
              <a:t>to</a:t>
            </a:r>
            <a:r>
              <a:rPr lang="en-US" sz="4000" b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4000" b="0" spc="-10">
                <a:solidFill>
                  <a:srgbClr val="4472C4"/>
                </a:solidFill>
                <a:latin typeface="Calibri"/>
                <a:cs typeface="Calibri"/>
              </a:rPr>
              <a:t>Action </a:t>
            </a:r>
            <a:r>
              <a:rPr sz="4000" b="0">
                <a:solidFill>
                  <a:srgbClr val="4472C4"/>
                </a:solidFill>
                <a:latin typeface="Calibri"/>
                <a:cs typeface="Calibri"/>
              </a:rPr>
              <a:t>with</a:t>
            </a:r>
            <a:r>
              <a:rPr sz="4000" b="0" spc="-145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4000" b="0" spc="-45">
                <a:solidFill>
                  <a:srgbClr val="4472C4"/>
                </a:solidFill>
                <a:latin typeface="Calibri"/>
                <a:cs typeface="Calibri"/>
              </a:rPr>
              <a:t>CPASS</a:t>
            </a:r>
            <a:r>
              <a:rPr sz="4000" b="0" spc="-14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4000" b="0" spc="-10">
                <a:solidFill>
                  <a:srgbClr val="4472C4"/>
                </a:solidFill>
                <a:latin typeface="Calibri"/>
                <a:cs typeface="Calibri"/>
              </a:rPr>
              <a:t>Chicago</a:t>
            </a:r>
            <a:endParaRPr lang="en-US" sz="4000"/>
          </a:p>
        </p:txBody>
      </p:sp>
      <p:sp>
        <p:nvSpPr>
          <p:cNvPr id="3" name="object 3"/>
          <p:cNvSpPr txBox="1"/>
          <p:nvPr/>
        </p:nvSpPr>
        <p:spPr>
          <a:xfrm>
            <a:off x="2286000" y="5373738"/>
            <a:ext cx="9528237" cy="1297791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12700" marR="5080" indent="1845310" algn="r">
              <a:lnSpc>
                <a:spcPts val="1900"/>
              </a:lnSpc>
              <a:spcBef>
                <a:spcPts val="180"/>
              </a:spcBef>
            </a:pPr>
            <a:r>
              <a:rPr sz="1600" b="1" dirty="0">
                <a:solidFill>
                  <a:srgbClr val="4472C4"/>
                </a:solidFill>
                <a:latin typeface="Calibri"/>
                <a:cs typeface="Calibri"/>
              </a:rPr>
              <a:t>Felicia</a:t>
            </a:r>
            <a:r>
              <a:rPr sz="1600" b="1" spc="-45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600" b="1" dirty="0">
                <a:solidFill>
                  <a:srgbClr val="4472C4"/>
                </a:solidFill>
                <a:latin typeface="Calibri"/>
                <a:cs typeface="Calibri"/>
              </a:rPr>
              <a:t>Clark</a:t>
            </a:r>
            <a:r>
              <a:rPr sz="1600" b="1" spc="-45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4472C4"/>
                </a:solidFill>
                <a:latin typeface="Calibri"/>
                <a:cs typeface="Calibri"/>
              </a:rPr>
              <a:t>D-ABMDI</a:t>
            </a:r>
            <a:endParaRPr lang="en-US" sz="1600" b="1" spc="-10" dirty="0">
              <a:solidFill>
                <a:srgbClr val="4472C4"/>
              </a:solidFill>
              <a:latin typeface="Calibri"/>
              <a:cs typeface="Calibri"/>
            </a:endParaRPr>
          </a:p>
          <a:p>
            <a:pPr marL="12700" marR="5080" indent="1845310" algn="r">
              <a:lnSpc>
                <a:spcPts val="1900"/>
              </a:lnSpc>
              <a:spcBef>
                <a:spcPts val="180"/>
              </a:spcBef>
            </a:pPr>
            <a:r>
              <a:rPr sz="1600" b="1" dirty="0">
                <a:solidFill>
                  <a:srgbClr val="4472C4"/>
                </a:solidFill>
                <a:latin typeface="Calibri"/>
                <a:cs typeface="Calibri"/>
              </a:rPr>
              <a:t>Darren</a:t>
            </a:r>
            <a:r>
              <a:rPr sz="1600" b="1" spc="-65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600" b="1" dirty="0">
                <a:solidFill>
                  <a:srgbClr val="4472C4"/>
                </a:solidFill>
                <a:latin typeface="Calibri"/>
                <a:cs typeface="Calibri"/>
              </a:rPr>
              <a:t>Harris,</a:t>
            </a:r>
            <a:r>
              <a:rPr sz="1600" b="1" spc="-60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600" b="1" dirty="0">
                <a:solidFill>
                  <a:srgbClr val="4472C4"/>
                </a:solidFill>
                <a:latin typeface="Calibri"/>
                <a:cs typeface="Calibri"/>
              </a:rPr>
              <a:t>Center</a:t>
            </a:r>
            <a:r>
              <a:rPr sz="1600" b="1" spc="-55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600" b="1" spc="-20" dirty="0">
                <a:solidFill>
                  <a:srgbClr val="4472C4"/>
                </a:solidFill>
                <a:latin typeface="Calibri"/>
                <a:cs typeface="Calibri"/>
              </a:rPr>
              <a:t>Director,</a:t>
            </a:r>
            <a:r>
              <a:rPr sz="1600" b="1" spc="-60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600" b="1" dirty="0">
                <a:solidFill>
                  <a:srgbClr val="4472C4"/>
                </a:solidFill>
                <a:latin typeface="Calibri"/>
                <a:cs typeface="Calibri"/>
              </a:rPr>
              <a:t>Family</a:t>
            </a:r>
            <a:r>
              <a:rPr sz="1600" b="1" spc="-55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4472C4"/>
                </a:solidFill>
                <a:latin typeface="Calibri"/>
                <a:cs typeface="Calibri"/>
              </a:rPr>
              <a:t>Focus </a:t>
            </a:r>
            <a:endParaRPr lang="en-US" sz="1600" b="1" spc="-10" dirty="0">
              <a:solidFill>
                <a:srgbClr val="4472C4"/>
              </a:solidFill>
              <a:latin typeface="Calibri"/>
              <a:cs typeface="Calibri"/>
            </a:endParaRPr>
          </a:p>
          <a:p>
            <a:pPr marL="12700" marR="5080" indent="1845310" algn="r">
              <a:lnSpc>
                <a:spcPts val="1900"/>
              </a:lnSpc>
              <a:spcBef>
                <a:spcPts val="180"/>
              </a:spcBef>
            </a:pPr>
            <a:r>
              <a:rPr sz="1600" b="1" dirty="0">
                <a:solidFill>
                  <a:srgbClr val="4472C4"/>
                </a:solidFill>
                <a:latin typeface="Calibri"/>
                <a:cs typeface="Calibri"/>
              </a:rPr>
              <a:t>Christie</a:t>
            </a:r>
            <a:r>
              <a:rPr sz="1600" b="1" spc="-55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600" b="1" dirty="0">
                <a:solidFill>
                  <a:srgbClr val="4472C4"/>
                </a:solidFill>
                <a:latin typeface="Calibri"/>
                <a:cs typeface="Calibri"/>
              </a:rPr>
              <a:t>Lawrence</a:t>
            </a:r>
            <a:r>
              <a:rPr sz="1600" b="1" spc="-55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600" b="1" spc="-35" dirty="0">
                <a:solidFill>
                  <a:srgbClr val="4472C4"/>
                </a:solidFill>
                <a:latin typeface="Calibri"/>
                <a:cs typeface="Calibri"/>
              </a:rPr>
              <a:t>DNP,</a:t>
            </a:r>
            <a:r>
              <a:rPr sz="1600" b="1" spc="-50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4472C4"/>
                </a:solidFill>
                <a:latin typeface="Calibri"/>
                <a:cs typeface="Calibri"/>
              </a:rPr>
              <a:t>RNC-</a:t>
            </a:r>
            <a:r>
              <a:rPr sz="1600" b="1" dirty="0">
                <a:solidFill>
                  <a:srgbClr val="4472C4"/>
                </a:solidFill>
                <a:latin typeface="Calibri"/>
                <a:cs typeface="Calibri"/>
              </a:rPr>
              <a:t>NIC,</a:t>
            </a:r>
            <a:r>
              <a:rPr sz="1600" b="1" spc="-45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4472C4"/>
                </a:solidFill>
                <a:latin typeface="Calibri"/>
                <a:cs typeface="Calibri"/>
              </a:rPr>
              <a:t>APN/CNS</a:t>
            </a:r>
            <a:endParaRPr sz="1600" dirty="0">
              <a:latin typeface="Calibri"/>
              <a:cs typeface="Calibri"/>
            </a:endParaRPr>
          </a:p>
          <a:p>
            <a:pPr marL="1640205" marR="5080" indent="211454" algn="r">
              <a:lnSpc>
                <a:spcPct val="100000"/>
              </a:lnSpc>
              <a:spcBef>
                <a:spcPts val="5"/>
              </a:spcBef>
            </a:pPr>
            <a:r>
              <a:rPr sz="1600" b="1" dirty="0">
                <a:solidFill>
                  <a:srgbClr val="4472C4"/>
                </a:solidFill>
                <a:latin typeface="Calibri"/>
                <a:cs typeface="Calibri"/>
              </a:rPr>
              <a:t>Gina</a:t>
            </a:r>
            <a:r>
              <a:rPr sz="1600" b="1" spc="-45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600" b="1" dirty="0">
                <a:solidFill>
                  <a:srgbClr val="4472C4"/>
                </a:solidFill>
                <a:latin typeface="Calibri"/>
                <a:cs typeface="Calibri"/>
              </a:rPr>
              <a:t>Lowell</a:t>
            </a:r>
            <a:r>
              <a:rPr sz="1600" b="1" spc="-40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600" b="1" dirty="0">
                <a:solidFill>
                  <a:srgbClr val="4472C4"/>
                </a:solidFill>
                <a:latin typeface="Calibri"/>
                <a:cs typeface="Calibri"/>
              </a:rPr>
              <a:t>MD,</a:t>
            </a:r>
            <a:r>
              <a:rPr sz="1600" b="1" spc="-35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600" b="1" spc="-25" dirty="0">
                <a:solidFill>
                  <a:srgbClr val="4472C4"/>
                </a:solidFill>
                <a:latin typeface="Calibri"/>
                <a:cs typeface="Calibri"/>
              </a:rPr>
              <a:t>MPH</a:t>
            </a:r>
            <a:r>
              <a:rPr lang="en-US" sz="1600" b="1" spc="-25" dirty="0">
                <a:solidFill>
                  <a:srgbClr val="4472C4"/>
                </a:solidFill>
                <a:latin typeface="Calibri"/>
                <a:cs typeface="Calibri"/>
              </a:rPr>
              <a:t>, FAAP</a:t>
            </a:r>
          </a:p>
          <a:p>
            <a:pPr marL="1640205" marR="5080" indent="211454" algn="r">
              <a:lnSpc>
                <a:spcPct val="100000"/>
              </a:lnSpc>
              <a:spcBef>
                <a:spcPts val="5"/>
              </a:spcBef>
            </a:pPr>
            <a:r>
              <a:rPr sz="1600" b="1" spc="-20" dirty="0" err="1">
                <a:solidFill>
                  <a:srgbClr val="4472C4"/>
                </a:solidFill>
                <a:latin typeface="Calibri"/>
                <a:cs typeface="Calibri"/>
              </a:rPr>
              <a:t>Kyran</a:t>
            </a:r>
            <a:r>
              <a:rPr sz="1600" b="1" spc="-45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600" b="1" dirty="0">
                <a:solidFill>
                  <a:srgbClr val="4472C4"/>
                </a:solidFill>
                <a:latin typeface="Calibri"/>
                <a:cs typeface="Calibri"/>
              </a:rPr>
              <a:t>Quinlan</a:t>
            </a:r>
            <a:r>
              <a:rPr sz="1600" b="1" spc="-40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600" b="1" dirty="0">
                <a:solidFill>
                  <a:srgbClr val="4472C4"/>
                </a:solidFill>
                <a:latin typeface="Calibri"/>
                <a:cs typeface="Calibri"/>
              </a:rPr>
              <a:t>MD,</a:t>
            </a:r>
            <a:r>
              <a:rPr sz="1600" b="1" spc="-45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600" b="1" spc="-25" dirty="0">
                <a:solidFill>
                  <a:srgbClr val="4472C4"/>
                </a:solidFill>
                <a:latin typeface="Calibri"/>
                <a:cs typeface="Calibri"/>
              </a:rPr>
              <a:t>MPH</a:t>
            </a:r>
            <a:r>
              <a:rPr lang="en-US" sz="1600" b="1" spc="-25" dirty="0">
                <a:solidFill>
                  <a:srgbClr val="4472C4"/>
                </a:solidFill>
                <a:latin typeface="Calibri"/>
                <a:cs typeface="Calibri"/>
              </a:rPr>
              <a:t>, FAAP 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099794" y="2770364"/>
            <a:ext cx="5992495" cy="2028189"/>
          </a:xfrm>
          <a:custGeom>
            <a:avLst/>
            <a:gdLst/>
            <a:ahLst/>
            <a:cxnLst/>
            <a:rect l="l" t="t" r="r" b="b"/>
            <a:pathLst>
              <a:path w="5992495" h="2028189">
                <a:moveTo>
                  <a:pt x="5992409" y="0"/>
                </a:moveTo>
                <a:lnTo>
                  <a:pt x="0" y="0"/>
                </a:lnTo>
                <a:lnTo>
                  <a:pt x="0" y="2027736"/>
                </a:lnTo>
                <a:lnTo>
                  <a:pt x="5992409" y="2027736"/>
                </a:lnTo>
                <a:lnTo>
                  <a:pt x="5992409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3316668" y="2779267"/>
            <a:ext cx="5561965" cy="9283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3600" spc="-35">
                <a:solidFill>
                  <a:srgbClr val="FFFFFF"/>
                </a:solidFill>
                <a:latin typeface="Calibri"/>
                <a:cs typeface="Calibri"/>
              </a:rPr>
              <a:t>CPASS</a:t>
            </a:r>
            <a:r>
              <a:rPr sz="3600" spc="-11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600">
                <a:solidFill>
                  <a:srgbClr val="FFFFFF"/>
                </a:solidFill>
                <a:latin typeface="Calibri"/>
                <a:cs typeface="Calibri"/>
              </a:rPr>
              <a:t>CHICAGO</a:t>
            </a:r>
            <a:r>
              <a:rPr sz="3600" spc="-105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600">
                <a:solidFill>
                  <a:srgbClr val="FFFFFF"/>
                </a:solidFill>
                <a:latin typeface="Calibri"/>
                <a:cs typeface="Calibri"/>
              </a:rPr>
              <a:t>SLEEPS</a:t>
            </a:r>
            <a:r>
              <a:rPr sz="3600" spc="-11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600" spc="-10">
                <a:solidFill>
                  <a:srgbClr val="FFFFFF"/>
                </a:solidFill>
                <a:latin typeface="Calibri"/>
                <a:cs typeface="Calibri"/>
              </a:rPr>
              <a:t>SAFE!</a:t>
            </a:r>
            <a:endParaRPr sz="3600">
              <a:latin typeface="Calibri"/>
              <a:cs typeface="Calibri"/>
            </a:endParaRPr>
          </a:p>
          <a:p>
            <a:pPr marL="635" algn="ctr">
              <a:lnSpc>
                <a:spcPct val="100000"/>
              </a:lnSpc>
              <a:spcBef>
                <a:spcPts val="1465"/>
              </a:spcBef>
            </a:pPr>
            <a:r>
              <a:rPr sz="1100" b="1" spc="-40">
                <a:solidFill>
                  <a:srgbClr val="FFFFFF"/>
                </a:solidFill>
                <a:latin typeface="Arial"/>
                <a:cs typeface="Arial"/>
              </a:rPr>
              <a:t>COMMUNITY</a:t>
            </a:r>
            <a:r>
              <a:rPr sz="1100" b="1" spc="-2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40">
                <a:solidFill>
                  <a:srgbClr val="FFFFFF"/>
                </a:solidFill>
                <a:latin typeface="Arial"/>
                <a:cs typeface="Arial"/>
              </a:rPr>
              <a:t>PARTNERSHIP</a:t>
            </a:r>
            <a:r>
              <a:rPr sz="1100" b="1" spc="-2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45">
                <a:solidFill>
                  <a:srgbClr val="FFFFFF"/>
                </a:solidFill>
                <a:latin typeface="Arial"/>
                <a:cs typeface="Arial"/>
              </a:rPr>
              <a:t>APPROACHES</a:t>
            </a:r>
            <a:r>
              <a:rPr sz="1100" b="1" spc="-2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40">
                <a:solidFill>
                  <a:srgbClr val="FFFFFF"/>
                </a:solidFill>
                <a:latin typeface="Arial"/>
                <a:cs typeface="Arial"/>
              </a:rPr>
              <a:t>FOR</a:t>
            </a:r>
            <a:r>
              <a:rPr sz="1100" b="1" spc="-2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35">
                <a:solidFill>
                  <a:srgbClr val="FFFFFF"/>
                </a:solidFill>
                <a:latin typeface="Arial"/>
                <a:cs typeface="Arial"/>
              </a:rPr>
              <a:t>SAFE</a:t>
            </a:r>
            <a:r>
              <a:rPr sz="1100" b="1" spc="-2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10">
                <a:solidFill>
                  <a:srgbClr val="FFFFFF"/>
                </a:solidFill>
                <a:latin typeface="Arial"/>
                <a:cs typeface="Arial"/>
              </a:rPr>
              <a:t>SLEEP</a:t>
            </a:r>
            <a:endParaRPr sz="1100"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2901695" y="3697223"/>
            <a:ext cx="6318885" cy="1432560"/>
            <a:chOff x="2901695" y="3697223"/>
            <a:chExt cx="6318885" cy="1432560"/>
          </a:xfrm>
        </p:grpSpPr>
        <p:pic>
          <p:nvPicPr>
            <p:cNvPr id="7" name="object 7"/>
            <p:cNvPicPr/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96911" y="3718559"/>
              <a:ext cx="1923288" cy="1411224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23850" y="3840162"/>
              <a:ext cx="238374" cy="571201"/>
            </a:xfrm>
            <a:prstGeom prst="rect">
              <a:avLst/>
            </a:prstGeom>
          </p:spPr>
        </p:pic>
        <p:sp>
          <p:nvSpPr>
            <p:cNvPr id="9" name="object 9"/>
            <p:cNvSpPr/>
            <p:nvPr/>
          </p:nvSpPr>
          <p:spPr>
            <a:xfrm>
              <a:off x="7423851" y="4411363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F2F0F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0" name="object 10"/>
            <p:cNvPicPr/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62224" y="3840162"/>
              <a:ext cx="1429978" cy="596760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23850" y="3840163"/>
              <a:ext cx="1668352" cy="1167961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23850" y="4411363"/>
              <a:ext cx="1429978" cy="596760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53829" y="4436923"/>
              <a:ext cx="238373" cy="571200"/>
            </a:xfrm>
            <a:prstGeom prst="rect">
              <a:avLst/>
            </a:prstGeom>
          </p:spPr>
        </p:pic>
        <p:sp>
          <p:nvSpPr>
            <p:cNvPr id="14" name="object 14"/>
            <p:cNvSpPr/>
            <p:nvPr/>
          </p:nvSpPr>
          <p:spPr>
            <a:xfrm>
              <a:off x="8853828" y="5008123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EEEEE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7398933" y="3815245"/>
              <a:ext cx="1718310" cy="1217930"/>
            </a:xfrm>
            <a:custGeom>
              <a:avLst/>
              <a:gdLst/>
              <a:ahLst/>
              <a:cxnLst/>
              <a:rect l="l" t="t" r="r" b="b"/>
              <a:pathLst>
                <a:path w="1718309" h="1217929">
                  <a:moveTo>
                    <a:pt x="253047" y="0"/>
                  </a:moveTo>
                  <a:lnTo>
                    <a:pt x="1718186" y="611433"/>
                  </a:lnTo>
                  <a:lnTo>
                    <a:pt x="1465138" y="1217795"/>
                  </a:lnTo>
                  <a:lnTo>
                    <a:pt x="0" y="606362"/>
                  </a:lnTo>
                  <a:lnTo>
                    <a:pt x="253047" y="0"/>
                  </a:lnTo>
                  <a:close/>
                </a:path>
              </a:pathLst>
            </a:custGeom>
            <a:ln w="3809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6" name="object 16"/>
            <p:cNvPicPr/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45479" y="3837431"/>
              <a:ext cx="1798320" cy="899159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5865587" y="3946752"/>
              <a:ext cx="1558263" cy="678298"/>
            </a:xfrm>
            <a:prstGeom prst="rect">
              <a:avLst/>
            </a:prstGeom>
          </p:spPr>
        </p:pic>
        <p:sp>
          <p:nvSpPr>
            <p:cNvPr id="18" name="object 18"/>
            <p:cNvSpPr/>
            <p:nvPr/>
          </p:nvSpPr>
          <p:spPr>
            <a:xfrm>
              <a:off x="5846537" y="3927702"/>
              <a:ext cx="1596390" cy="716915"/>
            </a:xfrm>
            <a:custGeom>
              <a:avLst/>
              <a:gdLst/>
              <a:ahLst/>
              <a:cxnLst/>
              <a:rect l="l" t="t" r="r" b="b"/>
              <a:pathLst>
                <a:path w="1596390" h="716914">
                  <a:moveTo>
                    <a:pt x="0" y="0"/>
                  </a:moveTo>
                  <a:lnTo>
                    <a:pt x="1596362" y="0"/>
                  </a:lnTo>
                  <a:lnTo>
                    <a:pt x="1596362" y="716398"/>
                  </a:lnTo>
                  <a:lnTo>
                    <a:pt x="0" y="716398"/>
                  </a:lnTo>
                  <a:lnTo>
                    <a:pt x="0" y="0"/>
                  </a:lnTo>
                  <a:close/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/>
            <p:cNvPicPr/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59935" y="3806951"/>
              <a:ext cx="1953767" cy="1103376"/>
            </a:xfrm>
            <a:prstGeom prst="rect">
              <a:avLst/>
            </a:prstGeom>
          </p:spPr>
        </p:pic>
        <p:sp>
          <p:nvSpPr>
            <p:cNvPr id="20" name="object 20"/>
            <p:cNvSpPr/>
            <p:nvPr/>
          </p:nvSpPr>
          <p:spPr>
            <a:xfrm>
              <a:off x="4288787" y="3924199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C9B8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21"/>
            <p:cNvPicPr/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82758" y="3924199"/>
              <a:ext cx="106028" cy="573109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88787" y="3924199"/>
              <a:ext cx="1601172" cy="296226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82758" y="3924199"/>
              <a:ext cx="1707201" cy="869335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82758" y="4497309"/>
              <a:ext cx="1601171" cy="296225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83930" y="4220425"/>
              <a:ext cx="106029" cy="573109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4160561" y="3902001"/>
              <a:ext cx="1751964" cy="913765"/>
            </a:xfrm>
            <a:custGeom>
              <a:avLst/>
              <a:gdLst/>
              <a:ahLst/>
              <a:cxnLst/>
              <a:rect l="l" t="t" r="r" b="b"/>
              <a:pathLst>
                <a:path w="1751964" h="913764">
                  <a:moveTo>
                    <a:pt x="112959" y="0"/>
                  </a:moveTo>
                  <a:lnTo>
                    <a:pt x="1751596" y="303157"/>
                  </a:lnTo>
                  <a:lnTo>
                    <a:pt x="1638636" y="913731"/>
                  </a:lnTo>
                  <a:lnTo>
                    <a:pt x="0" y="610573"/>
                  </a:lnTo>
                  <a:lnTo>
                    <a:pt x="112959" y="0"/>
                  </a:lnTo>
                  <a:close/>
                </a:path>
              </a:pathLst>
            </a:custGeom>
            <a:ln w="3809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27"/>
            <p:cNvPicPr/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01695" y="3697223"/>
              <a:ext cx="1353311" cy="1176527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18896" y="3917485"/>
              <a:ext cx="85041" cy="841493"/>
            </a:xfrm>
            <a:prstGeom prst="rect">
              <a:avLst/>
            </a:prstGeom>
          </p:spPr>
        </p:pic>
        <p:pic>
          <p:nvPicPr>
            <p:cNvPr id="29" name="object 29"/>
            <p:cNvPicPr/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18896" y="3812825"/>
              <a:ext cx="1035627" cy="104659"/>
            </a:xfrm>
            <a:prstGeom prst="rect">
              <a:avLst/>
            </a:prstGeom>
          </p:spPr>
        </p:pic>
        <p:pic>
          <p:nvPicPr>
            <p:cNvPr id="30" name="object 30"/>
            <p:cNvPicPr/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18897" y="3812825"/>
              <a:ext cx="1120668" cy="946153"/>
            </a:xfrm>
            <a:prstGeom prst="rect">
              <a:avLst/>
            </a:prstGeom>
          </p:spPr>
        </p:pic>
        <p:pic>
          <p:nvPicPr>
            <p:cNvPr id="31" name="object 31"/>
            <p:cNvPicPr/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03937" y="4654319"/>
              <a:ext cx="1035628" cy="104659"/>
            </a:xfrm>
            <a:prstGeom prst="rect">
              <a:avLst/>
            </a:prstGeom>
          </p:spPr>
        </p:pic>
        <p:pic>
          <p:nvPicPr>
            <p:cNvPr id="32" name="object 32"/>
            <p:cNvPicPr/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54525" y="3812825"/>
              <a:ext cx="85040" cy="841494"/>
            </a:xfrm>
            <a:prstGeom prst="rect">
              <a:avLst/>
            </a:prstGeom>
          </p:spPr>
        </p:pic>
        <p:sp>
          <p:nvSpPr>
            <p:cNvPr id="33" name="object 33"/>
            <p:cNvSpPr/>
            <p:nvPr/>
          </p:nvSpPr>
          <p:spPr>
            <a:xfrm>
              <a:off x="4139566" y="4654317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2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35383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2998027" y="3791956"/>
              <a:ext cx="1162685" cy="988060"/>
            </a:xfrm>
            <a:custGeom>
              <a:avLst/>
              <a:gdLst/>
              <a:ahLst/>
              <a:cxnLst/>
              <a:rect l="l" t="t" r="r" b="b"/>
              <a:pathLst>
                <a:path w="1162685" h="988060">
                  <a:moveTo>
                    <a:pt x="0" y="108490"/>
                  </a:moveTo>
                  <a:lnTo>
                    <a:pt x="1073534" y="0"/>
                  </a:lnTo>
                  <a:lnTo>
                    <a:pt x="1162406" y="879401"/>
                  </a:lnTo>
                  <a:lnTo>
                    <a:pt x="88871" y="987892"/>
                  </a:lnTo>
                  <a:lnTo>
                    <a:pt x="0" y="108490"/>
                  </a:lnTo>
                  <a:close/>
                </a:path>
              </a:pathLst>
            </a:custGeom>
            <a:ln w="3809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47462" y="5210555"/>
            <a:ext cx="546290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i="1">
                <a:latin typeface="Calibri"/>
                <a:cs typeface="Calibri"/>
              </a:rPr>
              <a:t>Salem</a:t>
            </a:r>
            <a:r>
              <a:rPr sz="1400" i="1" spc="-4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Baptist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Church,</a:t>
            </a:r>
            <a:r>
              <a:rPr sz="1400" i="1" spc="-4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Citywide</a:t>
            </a:r>
            <a:r>
              <a:rPr sz="1400" i="1" spc="-5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Baby</a:t>
            </a:r>
            <a:r>
              <a:rPr sz="1400" i="1" spc="-45">
                <a:latin typeface="Calibri"/>
                <a:cs typeface="Calibri"/>
              </a:rPr>
              <a:t> </a:t>
            </a:r>
            <a:r>
              <a:rPr sz="1400" i="1" spc="-20">
                <a:latin typeface="Calibri"/>
                <a:cs typeface="Calibri"/>
              </a:rPr>
              <a:t>Shower,</a:t>
            </a:r>
            <a:r>
              <a:rPr sz="1400" i="1" spc="-4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Roseland</a:t>
            </a:r>
            <a:r>
              <a:rPr sz="1400" i="1" spc="-40">
                <a:latin typeface="Calibri"/>
                <a:cs typeface="Calibri"/>
              </a:rPr>
              <a:t> </a:t>
            </a:r>
            <a:r>
              <a:rPr sz="1400" i="1" spc="-10">
                <a:latin typeface="Calibri"/>
                <a:cs typeface="Calibri"/>
              </a:rPr>
              <a:t>community,</a:t>
            </a:r>
            <a:r>
              <a:rPr sz="1400" i="1" spc="-40">
                <a:latin typeface="Calibri"/>
                <a:cs typeface="Calibri"/>
              </a:rPr>
              <a:t> </a:t>
            </a:r>
            <a:r>
              <a:rPr sz="1400" i="1" spc="-10">
                <a:latin typeface="Calibri"/>
                <a:cs typeface="Calibri"/>
              </a:rPr>
              <a:t>Chicago</a:t>
            </a:r>
            <a:endParaRPr sz="1400">
              <a:latin typeface="Calibri"/>
              <a:cs typeface="Calibri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429682" y="555630"/>
            <a:ext cx="11610340" cy="4564380"/>
            <a:chOff x="429682" y="555630"/>
            <a:chExt cx="11610340" cy="4564380"/>
          </a:xfrm>
        </p:grpSpPr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29682" y="782778"/>
              <a:ext cx="5782267" cy="4336700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6047372" y="555630"/>
              <a:ext cx="5992495" cy="2028189"/>
            </a:xfrm>
            <a:custGeom>
              <a:avLst/>
              <a:gdLst/>
              <a:ahLst/>
              <a:cxnLst/>
              <a:rect l="l" t="t" r="r" b="b"/>
              <a:pathLst>
                <a:path w="5992495" h="2028189">
                  <a:moveTo>
                    <a:pt x="5992408" y="0"/>
                  </a:moveTo>
                  <a:lnTo>
                    <a:pt x="0" y="0"/>
                  </a:lnTo>
                  <a:lnTo>
                    <a:pt x="0" y="2027736"/>
                  </a:lnTo>
                  <a:lnTo>
                    <a:pt x="5992408" y="2027736"/>
                  </a:lnTo>
                  <a:lnTo>
                    <a:pt x="5992408" y="0"/>
                  </a:lnTo>
                  <a:close/>
                </a:path>
              </a:pathLst>
            </a:custGeom>
            <a:solidFill>
              <a:srgbClr val="007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6264245" y="563371"/>
            <a:ext cx="556196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b="0" spc="-35">
                <a:solidFill>
                  <a:srgbClr val="FFFFFF"/>
                </a:solidFill>
                <a:latin typeface="Calibri"/>
                <a:cs typeface="Calibri"/>
              </a:rPr>
              <a:t>CPASS</a:t>
            </a:r>
            <a:r>
              <a:rPr sz="3600" b="0" spc="-11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600" b="0">
                <a:solidFill>
                  <a:srgbClr val="FFFFFF"/>
                </a:solidFill>
                <a:latin typeface="Calibri"/>
                <a:cs typeface="Calibri"/>
              </a:rPr>
              <a:t>CHICAGO</a:t>
            </a:r>
            <a:r>
              <a:rPr sz="3600" b="0" spc="-105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600" b="0">
                <a:solidFill>
                  <a:srgbClr val="FFFFFF"/>
                </a:solidFill>
                <a:latin typeface="Calibri"/>
                <a:cs typeface="Calibri"/>
              </a:rPr>
              <a:t>SLEEPS</a:t>
            </a:r>
            <a:r>
              <a:rPr sz="3600" b="0" spc="-11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600" b="0" spc="-10">
                <a:solidFill>
                  <a:srgbClr val="FFFFFF"/>
                </a:solidFill>
                <a:latin typeface="Calibri"/>
                <a:cs typeface="Calibri"/>
              </a:rPr>
              <a:t>SAFE!</a:t>
            </a:r>
            <a:endParaRPr sz="3600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7041739" y="1298447"/>
            <a:ext cx="4008120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b="1" spc="-40">
                <a:solidFill>
                  <a:srgbClr val="FFFFFF"/>
                </a:solidFill>
                <a:latin typeface="Arial"/>
                <a:cs typeface="Arial"/>
              </a:rPr>
              <a:t>COMMUNITY</a:t>
            </a:r>
            <a:r>
              <a:rPr sz="1100" b="1" spc="-2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40">
                <a:solidFill>
                  <a:srgbClr val="FFFFFF"/>
                </a:solidFill>
                <a:latin typeface="Arial"/>
                <a:cs typeface="Arial"/>
              </a:rPr>
              <a:t>PARTNERSHIP</a:t>
            </a:r>
            <a:r>
              <a:rPr sz="1100" b="1" spc="-2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45">
                <a:solidFill>
                  <a:srgbClr val="FFFFFF"/>
                </a:solidFill>
                <a:latin typeface="Arial"/>
                <a:cs typeface="Arial"/>
              </a:rPr>
              <a:t>APPROACHES</a:t>
            </a:r>
            <a:r>
              <a:rPr sz="1100" b="1" spc="-2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40">
                <a:solidFill>
                  <a:srgbClr val="FFFFFF"/>
                </a:solidFill>
                <a:latin typeface="Arial"/>
                <a:cs typeface="Arial"/>
              </a:rPr>
              <a:t>FOR</a:t>
            </a:r>
            <a:r>
              <a:rPr sz="1100" b="1" spc="-2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35">
                <a:solidFill>
                  <a:srgbClr val="FFFFFF"/>
                </a:solidFill>
                <a:latin typeface="Arial"/>
                <a:cs typeface="Arial"/>
              </a:rPr>
              <a:t>SAFE</a:t>
            </a:r>
            <a:r>
              <a:rPr sz="1100" b="1" spc="-2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10">
                <a:solidFill>
                  <a:srgbClr val="FFFFFF"/>
                </a:solidFill>
                <a:latin typeface="Arial"/>
                <a:cs typeface="Arial"/>
              </a:rPr>
              <a:t>SLEEP</a:t>
            </a:r>
            <a:endParaRPr sz="1100">
              <a:latin typeface="Arial"/>
              <a:cs typeface="Arial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5849111" y="1484375"/>
            <a:ext cx="6318885" cy="1430020"/>
            <a:chOff x="5849111" y="1484375"/>
            <a:chExt cx="6318885" cy="1430020"/>
          </a:xfrm>
        </p:grpSpPr>
        <p:pic>
          <p:nvPicPr>
            <p:cNvPr id="9" name="object 9"/>
            <p:cNvPicPr/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44327" y="1502663"/>
              <a:ext cx="1923287" cy="1411224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71429" y="1625428"/>
              <a:ext cx="238374" cy="571201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09803" y="1625428"/>
              <a:ext cx="1429978" cy="596760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71429" y="1625429"/>
              <a:ext cx="1668352" cy="1167961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71429" y="2196629"/>
              <a:ext cx="1429977" cy="596761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801407" y="2222189"/>
              <a:ext cx="238373" cy="571201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>
            <a:xfrm>
              <a:off x="11801405" y="2793389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1" y="0"/>
                  </a:lnTo>
                </a:path>
              </a:pathLst>
            </a:custGeom>
            <a:ln w="3175">
              <a:solidFill>
                <a:srgbClr val="EEEEE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10346511" y="1600511"/>
              <a:ext cx="1718310" cy="1217930"/>
            </a:xfrm>
            <a:custGeom>
              <a:avLst/>
              <a:gdLst/>
              <a:ahLst/>
              <a:cxnLst/>
              <a:rect l="l" t="t" r="r" b="b"/>
              <a:pathLst>
                <a:path w="1718309" h="1217930">
                  <a:moveTo>
                    <a:pt x="253047" y="0"/>
                  </a:moveTo>
                  <a:lnTo>
                    <a:pt x="1718186" y="611433"/>
                  </a:lnTo>
                  <a:lnTo>
                    <a:pt x="1465138" y="1217795"/>
                  </a:lnTo>
                  <a:lnTo>
                    <a:pt x="0" y="606362"/>
                  </a:lnTo>
                  <a:lnTo>
                    <a:pt x="253047" y="0"/>
                  </a:lnTo>
                  <a:close/>
                </a:path>
              </a:pathLst>
            </a:custGeom>
            <a:ln w="3809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7" name="object 17"/>
            <p:cNvPicPr/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92895" y="1621535"/>
              <a:ext cx="1798320" cy="899160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813166" y="1732018"/>
              <a:ext cx="1558263" cy="678298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8794116" y="1712968"/>
              <a:ext cx="1596390" cy="716915"/>
            </a:xfrm>
            <a:custGeom>
              <a:avLst/>
              <a:gdLst/>
              <a:ahLst/>
              <a:cxnLst/>
              <a:rect l="l" t="t" r="r" b="b"/>
              <a:pathLst>
                <a:path w="1596390" h="716914">
                  <a:moveTo>
                    <a:pt x="0" y="0"/>
                  </a:moveTo>
                  <a:lnTo>
                    <a:pt x="1596362" y="0"/>
                  </a:lnTo>
                  <a:lnTo>
                    <a:pt x="1596362" y="716398"/>
                  </a:lnTo>
                  <a:lnTo>
                    <a:pt x="0" y="716398"/>
                  </a:lnTo>
                  <a:lnTo>
                    <a:pt x="0" y="0"/>
                  </a:lnTo>
                  <a:close/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0" name="object 20"/>
            <p:cNvPicPr/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07351" y="1594103"/>
              <a:ext cx="1953768" cy="1100327"/>
            </a:xfrm>
            <a:prstGeom prst="rect">
              <a:avLst/>
            </a:prstGeom>
          </p:spPr>
        </p:pic>
        <p:sp>
          <p:nvSpPr>
            <p:cNvPr id="21" name="object 21"/>
            <p:cNvSpPr/>
            <p:nvPr/>
          </p:nvSpPr>
          <p:spPr>
            <a:xfrm>
              <a:off x="7236364" y="1709465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1" y="0"/>
                  </a:lnTo>
                </a:path>
              </a:pathLst>
            </a:custGeom>
            <a:ln w="3175">
              <a:solidFill>
                <a:srgbClr val="CAB9A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2" name="object 22"/>
            <p:cNvPicPr/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30336" y="1709465"/>
              <a:ext cx="106028" cy="573109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36364" y="1709465"/>
              <a:ext cx="1601172" cy="296226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30336" y="1709465"/>
              <a:ext cx="1707201" cy="869335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30336" y="2282574"/>
              <a:ext cx="1601173" cy="296226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31509" y="2005691"/>
              <a:ext cx="106028" cy="573109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7108138" y="1687268"/>
              <a:ext cx="1751964" cy="913765"/>
            </a:xfrm>
            <a:custGeom>
              <a:avLst/>
              <a:gdLst/>
              <a:ahLst/>
              <a:cxnLst/>
              <a:rect l="l" t="t" r="r" b="b"/>
              <a:pathLst>
                <a:path w="1751965" h="913764">
                  <a:moveTo>
                    <a:pt x="112959" y="0"/>
                  </a:moveTo>
                  <a:lnTo>
                    <a:pt x="1751596" y="303157"/>
                  </a:lnTo>
                  <a:lnTo>
                    <a:pt x="1638636" y="913731"/>
                  </a:lnTo>
                  <a:lnTo>
                    <a:pt x="0" y="610573"/>
                  </a:lnTo>
                  <a:lnTo>
                    <a:pt x="112959" y="0"/>
                  </a:lnTo>
                  <a:close/>
                </a:path>
              </a:pathLst>
            </a:custGeom>
            <a:ln w="3809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28"/>
            <p:cNvPicPr/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49111" y="1484375"/>
              <a:ext cx="1356360" cy="1176527"/>
            </a:xfrm>
            <a:prstGeom prst="rect">
              <a:avLst/>
            </a:prstGeom>
          </p:spPr>
        </p:pic>
        <p:pic>
          <p:nvPicPr>
            <p:cNvPr id="29" name="object 29"/>
            <p:cNvPicPr/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6475" y="1702751"/>
              <a:ext cx="85040" cy="841493"/>
            </a:xfrm>
            <a:prstGeom prst="rect">
              <a:avLst/>
            </a:prstGeom>
          </p:spPr>
        </p:pic>
        <p:pic>
          <p:nvPicPr>
            <p:cNvPr id="30" name="object 30"/>
            <p:cNvPicPr/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6475" y="1598091"/>
              <a:ext cx="1035627" cy="104659"/>
            </a:xfrm>
            <a:prstGeom prst="rect">
              <a:avLst/>
            </a:prstGeom>
          </p:spPr>
        </p:pic>
        <p:pic>
          <p:nvPicPr>
            <p:cNvPr id="31" name="object 31"/>
            <p:cNvPicPr/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6475" y="1598091"/>
              <a:ext cx="1120668" cy="946153"/>
            </a:xfrm>
            <a:prstGeom prst="rect">
              <a:avLst/>
            </a:prstGeom>
          </p:spPr>
        </p:pic>
        <p:pic>
          <p:nvPicPr>
            <p:cNvPr id="32" name="object 32"/>
            <p:cNvPicPr/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51515" y="2439586"/>
              <a:ext cx="1035628" cy="104659"/>
            </a:xfrm>
            <a:prstGeom prst="rect">
              <a:avLst/>
            </a:prstGeom>
          </p:spPr>
        </p:pic>
        <p:pic>
          <p:nvPicPr>
            <p:cNvPr id="33" name="object 33"/>
            <p:cNvPicPr/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02102" y="1598091"/>
              <a:ext cx="85040" cy="841494"/>
            </a:xfrm>
            <a:prstGeom prst="rect">
              <a:avLst/>
            </a:prstGeom>
          </p:spPr>
        </p:pic>
        <p:sp>
          <p:nvSpPr>
            <p:cNvPr id="34" name="object 34"/>
            <p:cNvSpPr/>
            <p:nvPr/>
          </p:nvSpPr>
          <p:spPr>
            <a:xfrm>
              <a:off x="7087143" y="2439583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2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2E3B6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5945606" y="1577222"/>
              <a:ext cx="1162685" cy="988060"/>
            </a:xfrm>
            <a:custGeom>
              <a:avLst/>
              <a:gdLst/>
              <a:ahLst/>
              <a:cxnLst/>
              <a:rect l="l" t="t" r="r" b="b"/>
              <a:pathLst>
                <a:path w="1162684" h="988060">
                  <a:moveTo>
                    <a:pt x="0" y="108490"/>
                  </a:moveTo>
                  <a:lnTo>
                    <a:pt x="1073534" y="0"/>
                  </a:lnTo>
                  <a:lnTo>
                    <a:pt x="1162406" y="879401"/>
                  </a:lnTo>
                  <a:lnTo>
                    <a:pt x="88871" y="987892"/>
                  </a:lnTo>
                  <a:lnTo>
                    <a:pt x="0" y="108490"/>
                  </a:lnTo>
                  <a:close/>
                </a:path>
              </a:pathLst>
            </a:custGeom>
            <a:ln w="3809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6" name="object 36"/>
          <p:cNvSpPr txBox="1"/>
          <p:nvPr/>
        </p:nvSpPr>
        <p:spPr>
          <a:xfrm>
            <a:off x="6699932" y="2686811"/>
            <a:ext cx="4638675" cy="19519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Arial"/>
              <a:buChar char="•"/>
              <a:tabLst>
                <a:tab pos="184150" algn="l"/>
              </a:tabLst>
            </a:pP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2022,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i="1">
                <a:solidFill>
                  <a:srgbClr val="7F7F7F"/>
                </a:solidFill>
                <a:latin typeface="Calibri"/>
                <a:cs typeface="Calibri"/>
              </a:rPr>
              <a:t>Community</a:t>
            </a:r>
            <a:r>
              <a:rPr sz="1400" b="1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i="1" spc="-10">
                <a:solidFill>
                  <a:srgbClr val="7F7F7F"/>
                </a:solidFill>
                <a:latin typeface="Calibri"/>
                <a:cs typeface="Calibri"/>
              </a:rPr>
              <a:t>Partnership</a:t>
            </a:r>
            <a:r>
              <a:rPr sz="1400" b="1" i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i="1">
                <a:solidFill>
                  <a:srgbClr val="7F7F7F"/>
                </a:solidFill>
                <a:latin typeface="Calibri"/>
                <a:cs typeface="Calibri"/>
              </a:rPr>
              <a:t>Approaches</a:t>
            </a:r>
            <a:r>
              <a:rPr sz="1400" b="1" i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i="1">
                <a:solidFill>
                  <a:srgbClr val="7F7F7F"/>
                </a:solidFill>
                <a:latin typeface="Calibri"/>
                <a:cs typeface="Calibri"/>
              </a:rPr>
              <a:t>for</a:t>
            </a:r>
            <a:r>
              <a:rPr sz="1400" b="1" i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i="1">
                <a:solidFill>
                  <a:srgbClr val="7F7F7F"/>
                </a:solidFill>
                <a:latin typeface="Calibri"/>
                <a:cs typeface="Calibri"/>
              </a:rPr>
              <a:t>Safe</a:t>
            </a:r>
            <a:r>
              <a:rPr sz="1400" b="1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i="1" spc="-10">
                <a:solidFill>
                  <a:srgbClr val="7F7F7F"/>
                </a:solidFill>
                <a:latin typeface="Calibri"/>
                <a:cs typeface="Calibri"/>
              </a:rPr>
              <a:t>Sleep (CPASS)</a:t>
            </a:r>
            <a:r>
              <a:rPr sz="1400" i="1" spc="-10">
                <a:solidFill>
                  <a:srgbClr val="7F7F7F"/>
                </a:solidFill>
                <a:latin typeface="Calibri"/>
                <a:cs typeface="Calibri"/>
              </a:rPr>
              <a:t>,</a:t>
            </a:r>
            <a:r>
              <a:rPr sz="1400" i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an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initiative</a:t>
            </a:r>
            <a:r>
              <a:rPr sz="1400" i="1" spc="-4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led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by</a:t>
            </a:r>
            <a:r>
              <a:rPr sz="1400" i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the</a:t>
            </a:r>
            <a:r>
              <a:rPr sz="1400" i="1" spc="-4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American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 spc="-10">
                <a:solidFill>
                  <a:srgbClr val="7F7F7F"/>
                </a:solidFill>
                <a:latin typeface="Calibri"/>
                <a:cs typeface="Calibri"/>
              </a:rPr>
              <a:t>Academy</a:t>
            </a:r>
            <a:r>
              <a:rPr sz="1400" i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of </a:t>
            </a:r>
            <a:r>
              <a:rPr sz="1400" i="1" spc="-10">
                <a:solidFill>
                  <a:srgbClr val="7F7F7F"/>
                </a:solidFill>
                <a:latin typeface="Calibri"/>
                <a:cs typeface="Calibri"/>
              </a:rPr>
              <a:t>Pediatrics,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the</a:t>
            </a:r>
            <a:r>
              <a:rPr sz="1400" i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Injury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Free</a:t>
            </a:r>
            <a:r>
              <a:rPr sz="1400" i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Coalition</a:t>
            </a:r>
            <a:r>
              <a:rPr sz="1400" i="1" spc="-1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for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Kids,</a:t>
            </a:r>
            <a:r>
              <a:rPr sz="1400" i="1" spc="-2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and</a:t>
            </a:r>
            <a:r>
              <a:rPr sz="1400" i="1" spc="-2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 spc="-10">
                <a:solidFill>
                  <a:srgbClr val="7F7F7F"/>
                </a:solidFill>
                <a:latin typeface="Calibri"/>
                <a:cs typeface="Calibri"/>
              </a:rPr>
              <a:t>Amazon,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funded</a:t>
            </a:r>
            <a:r>
              <a:rPr sz="1400" i="1" spc="-2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5</a:t>
            </a:r>
            <a:r>
              <a:rPr sz="1400" i="1" spc="-2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 spc="-10">
                <a:solidFill>
                  <a:srgbClr val="7F7F7F"/>
                </a:solidFill>
                <a:latin typeface="Calibri"/>
                <a:cs typeface="Calibri"/>
              </a:rPr>
              <a:t>children’s</a:t>
            </a:r>
            <a:r>
              <a:rPr sz="1400" i="1" spc="-1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 spc="-10">
                <a:solidFill>
                  <a:srgbClr val="7F7F7F"/>
                </a:solidFill>
                <a:latin typeface="Calibri"/>
                <a:cs typeface="Calibri"/>
              </a:rPr>
              <a:t>hospitals</a:t>
            </a:r>
            <a:r>
              <a:rPr sz="1400" i="1" spc="-2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 spc="-10">
                <a:solidFill>
                  <a:srgbClr val="7F7F7F"/>
                </a:solidFill>
                <a:latin typeface="Calibri"/>
                <a:cs typeface="Calibri"/>
              </a:rPr>
              <a:t>nationwide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to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partner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with</a:t>
            </a:r>
            <a:r>
              <a:rPr sz="1400" i="1" spc="-20">
                <a:solidFill>
                  <a:srgbClr val="7F7F7F"/>
                </a:solidFill>
                <a:latin typeface="Calibri"/>
                <a:cs typeface="Calibri"/>
              </a:rPr>
              <a:t> CBOs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serving</a:t>
            </a:r>
            <a:r>
              <a:rPr sz="1400" i="1" spc="-4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pregnant</a:t>
            </a:r>
            <a:r>
              <a:rPr sz="1400" i="1" spc="-4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and</a:t>
            </a:r>
            <a:r>
              <a:rPr sz="1400" i="1" spc="-4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parenting</a:t>
            </a:r>
            <a:r>
              <a:rPr sz="1400" i="1" spc="-4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families</a:t>
            </a:r>
            <a:r>
              <a:rPr sz="1400" i="1" spc="-4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to</a:t>
            </a:r>
            <a:r>
              <a:rPr sz="1400" i="1" spc="-5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provide</a:t>
            </a:r>
            <a:r>
              <a:rPr sz="1400" i="1" spc="-5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safe</a:t>
            </a:r>
            <a:r>
              <a:rPr sz="1400" i="1" spc="-5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 spc="-10">
                <a:solidFill>
                  <a:srgbClr val="7F7F7F"/>
                </a:solidFill>
                <a:latin typeface="Calibri"/>
                <a:cs typeface="Calibri"/>
              </a:rPr>
              <a:t>sleep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kits</a:t>
            </a:r>
            <a:r>
              <a:rPr sz="1400" i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and</a:t>
            </a:r>
            <a:r>
              <a:rPr sz="1400" i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education</a:t>
            </a:r>
            <a:r>
              <a:rPr sz="1400" i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1400" i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 spc="-10">
                <a:solidFill>
                  <a:srgbClr val="7F7F7F"/>
                </a:solidFill>
                <a:latin typeface="Calibri"/>
                <a:cs typeface="Calibri"/>
              </a:rPr>
              <a:t>SUID-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impacted</a:t>
            </a:r>
            <a:r>
              <a:rPr sz="1400" i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 spc="-10">
                <a:solidFill>
                  <a:srgbClr val="7F7F7F"/>
                </a:solidFill>
                <a:latin typeface="Calibri"/>
                <a:cs typeface="Calibri"/>
              </a:rPr>
              <a:t>communities.</a:t>
            </a:r>
            <a:endParaRPr sz="1400">
              <a:latin typeface="Calibri"/>
              <a:cs typeface="Calibri"/>
            </a:endParaRPr>
          </a:p>
          <a:p>
            <a:pPr marL="184150" marR="27940" indent="-171450">
              <a:lnSpc>
                <a:spcPct val="101400"/>
              </a:lnSpc>
              <a:spcBef>
                <a:spcPts val="1680"/>
              </a:spcBef>
              <a:buFont typeface="Arial"/>
              <a:buChar char="•"/>
              <a:tabLst>
                <a:tab pos="184150" algn="l"/>
              </a:tabLst>
            </a:pPr>
            <a:r>
              <a:rPr sz="1400" b="1" i="1" spc="-20">
                <a:solidFill>
                  <a:srgbClr val="7F7F7F"/>
                </a:solidFill>
                <a:latin typeface="Calibri"/>
                <a:cs typeface="Calibri"/>
              </a:rPr>
              <a:t>CPASS</a:t>
            </a:r>
            <a:r>
              <a:rPr sz="1400" b="1" i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i="1">
                <a:solidFill>
                  <a:srgbClr val="7F7F7F"/>
                </a:solidFill>
                <a:latin typeface="Calibri"/>
                <a:cs typeface="Calibri"/>
              </a:rPr>
              <a:t>Chicago</a:t>
            </a:r>
            <a:r>
              <a:rPr sz="1400" b="1" i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began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as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a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i="1">
                <a:solidFill>
                  <a:srgbClr val="7F7F7F"/>
                </a:solidFill>
                <a:latin typeface="Calibri"/>
                <a:cs typeface="Calibri"/>
              </a:rPr>
              <a:t>Family</a:t>
            </a:r>
            <a:r>
              <a:rPr sz="1400" b="1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i="1" spc="-10">
                <a:solidFill>
                  <a:srgbClr val="7F7F7F"/>
                </a:solidFill>
                <a:latin typeface="Calibri"/>
                <a:cs typeface="Calibri"/>
              </a:rPr>
              <a:t>Focus-</a:t>
            </a:r>
            <a:r>
              <a:rPr sz="1400" b="1" i="1">
                <a:solidFill>
                  <a:srgbClr val="7F7F7F"/>
                </a:solidFill>
                <a:latin typeface="Calibri"/>
                <a:cs typeface="Calibri"/>
              </a:rPr>
              <a:t>Rush</a:t>
            </a:r>
            <a:r>
              <a:rPr sz="1400" b="1" i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partnership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led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by</a:t>
            </a:r>
            <a:r>
              <a:rPr sz="1400" i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Felicia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Clark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and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the</a:t>
            </a:r>
            <a:r>
              <a:rPr sz="1400" i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Cook</a:t>
            </a:r>
            <a:r>
              <a:rPr sz="1400" i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County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 spc="-10">
                <a:solidFill>
                  <a:srgbClr val="7F7F7F"/>
                </a:solidFill>
                <a:latin typeface="Calibri"/>
                <a:cs typeface="Calibri"/>
              </a:rPr>
              <a:t>SUID-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CR</a:t>
            </a:r>
            <a:r>
              <a:rPr sz="1400" i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 spc="-10">
                <a:solidFill>
                  <a:srgbClr val="7F7F7F"/>
                </a:solidFill>
                <a:latin typeface="Calibri"/>
                <a:cs typeface="Calibri"/>
              </a:rPr>
              <a:t>team.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6699932" y="4820411"/>
            <a:ext cx="4572000" cy="668655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84150" marR="5080" indent="-171450">
              <a:lnSpc>
                <a:spcPct val="100699"/>
              </a:lnSpc>
              <a:spcBef>
                <a:spcPts val="85"/>
              </a:spcBef>
              <a:buFont typeface="Arial"/>
              <a:buChar char="•"/>
              <a:tabLst>
                <a:tab pos="184150" algn="l"/>
              </a:tabLst>
            </a:pP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1400" i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2023,</a:t>
            </a:r>
            <a:r>
              <a:rPr sz="1400" i="1" spc="-4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 spc="-20">
                <a:solidFill>
                  <a:srgbClr val="7F7F7F"/>
                </a:solidFill>
                <a:latin typeface="Calibri"/>
                <a:cs typeface="Calibri"/>
              </a:rPr>
              <a:t>CPASS</a:t>
            </a:r>
            <a:r>
              <a:rPr sz="1400" i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Chicago</a:t>
            </a:r>
            <a:r>
              <a:rPr sz="1400" i="1" spc="-4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expanded</a:t>
            </a:r>
            <a:r>
              <a:rPr sz="1400" i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partnerships</a:t>
            </a:r>
            <a:r>
              <a:rPr sz="1400" i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to</a:t>
            </a:r>
            <a:r>
              <a:rPr sz="1400" i="1" spc="-4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 spc="-10">
                <a:solidFill>
                  <a:srgbClr val="7F7F7F"/>
                </a:solidFill>
                <a:latin typeface="Calibri"/>
                <a:cs typeface="Calibri"/>
              </a:rPr>
              <a:t>include </a:t>
            </a:r>
            <a:r>
              <a:rPr sz="1400" b="1" i="1">
                <a:solidFill>
                  <a:srgbClr val="7F7F7F"/>
                </a:solidFill>
                <a:latin typeface="Calibri"/>
                <a:cs typeface="Calibri"/>
              </a:rPr>
              <a:t>Chicago</a:t>
            </a:r>
            <a:r>
              <a:rPr sz="1400" b="1" i="1" spc="-4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i="1">
                <a:solidFill>
                  <a:srgbClr val="7F7F7F"/>
                </a:solidFill>
                <a:latin typeface="Calibri"/>
                <a:cs typeface="Calibri"/>
              </a:rPr>
              <a:t>Birthworks</a:t>
            </a:r>
            <a:r>
              <a:rPr sz="1400" b="1" i="1" spc="-4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i="1">
                <a:solidFill>
                  <a:srgbClr val="7F7F7F"/>
                </a:solidFill>
                <a:latin typeface="Calibri"/>
                <a:cs typeface="Calibri"/>
              </a:rPr>
              <a:t>Collective,</a:t>
            </a:r>
            <a:r>
              <a:rPr sz="1400" b="1" i="1" spc="-4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i="1">
                <a:solidFill>
                  <a:srgbClr val="7F7F7F"/>
                </a:solidFill>
                <a:latin typeface="Calibri"/>
                <a:cs typeface="Calibri"/>
              </a:rPr>
              <a:t>Proviso</a:t>
            </a:r>
            <a:r>
              <a:rPr sz="1400" b="1" i="1" spc="-4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i="1" spc="-20">
                <a:solidFill>
                  <a:srgbClr val="7F7F7F"/>
                </a:solidFill>
                <a:latin typeface="Calibri"/>
                <a:cs typeface="Calibri"/>
              </a:rPr>
              <a:t>Township</a:t>
            </a:r>
            <a:r>
              <a:rPr sz="1400" b="1" i="1" spc="-4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i="1" spc="-10">
                <a:solidFill>
                  <a:srgbClr val="7F7F7F"/>
                </a:solidFill>
                <a:latin typeface="Calibri"/>
                <a:cs typeface="Calibri"/>
              </a:rPr>
              <a:t>Ministerial </a:t>
            </a:r>
            <a:r>
              <a:rPr sz="1400" b="1" i="1">
                <a:solidFill>
                  <a:srgbClr val="7F7F7F"/>
                </a:solidFill>
                <a:latin typeface="Calibri"/>
                <a:cs typeface="Calibri"/>
              </a:rPr>
              <a:t>Alliance</a:t>
            </a:r>
            <a:r>
              <a:rPr sz="1400" b="1" i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i="1">
                <a:solidFill>
                  <a:srgbClr val="7F7F7F"/>
                </a:solidFill>
                <a:latin typeface="Calibri"/>
                <a:cs typeface="Calibri"/>
              </a:rPr>
              <a:t>Network</a:t>
            </a:r>
            <a:r>
              <a:rPr sz="1400" b="1" i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7F7F7F"/>
                </a:solidFill>
                <a:latin typeface="Calibri"/>
                <a:cs typeface="Calibri"/>
              </a:rPr>
              <a:t>and</a:t>
            </a:r>
            <a:r>
              <a:rPr sz="1400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i="1">
                <a:solidFill>
                  <a:srgbClr val="7F7F7F"/>
                </a:solidFill>
                <a:latin typeface="Calibri"/>
                <a:cs typeface="Calibri"/>
              </a:rPr>
              <a:t>Sinai</a:t>
            </a:r>
            <a:r>
              <a:rPr sz="1400" b="1" i="1" spc="-2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i="1" spc="-10">
                <a:solidFill>
                  <a:srgbClr val="7F7F7F"/>
                </a:solidFill>
                <a:latin typeface="Calibri"/>
                <a:cs typeface="Calibri"/>
              </a:rPr>
              <a:t>Community</a:t>
            </a:r>
            <a:r>
              <a:rPr sz="1400" b="1" i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i="1" spc="-10">
                <a:solidFill>
                  <a:srgbClr val="7F7F7F"/>
                </a:solidFill>
                <a:latin typeface="Calibri"/>
                <a:cs typeface="Calibri"/>
              </a:rPr>
              <a:t>Institute</a:t>
            </a:r>
            <a:endParaRPr sz="1400">
              <a:latin typeface="Calibri"/>
              <a:cs typeface="Calibri"/>
            </a:endParaRPr>
          </a:p>
        </p:txBody>
      </p:sp>
      <p:pic>
        <p:nvPicPr>
          <p:cNvPr id="38" name="object 38"/>
          <p:cNvPicPr/>
          <p:nvPr/>
        </p:nvPicPr>
        <p:blipFill>
          <a:blip r:embed="rId23" cstate="print"/>
          <a:stretch>
            <a:fillRect/>
          </a:stretch>
        </p:blipFill>
        <p:spPr>
          <a:xfrm>
            <a:off x="1623849" y="5586218"/>
            <a:ext cx="1444603" cy="808977"/>
          </a:xfrm>
          <a:prstGeom prst="rect">
            <a:avLst/>
          </a:prstGeom>
        </p:spPr>
      </p:pic>
      <p:pic>
        <p:nvPicPr>
          <p:cNvPr id="39" name="object 39"/>
          <p:cNvPicPr/>
          <p:nvPr/>
        </p:nvPicPr>
        <p:blipFill>
          <a:blip r:embed="rId24" cstate="print"/>
          <a:stretch>
            <a:fillRect/>
          </a:stretch>
        </p:blipFill>
        <p:spPr>
          <a:xfrm>
            <a:off x="3179000" y="5514619"/>
            <a:ext cx="935737" cy="969484"/>
          </a:xfrm>
          <a:prstGeom prst="rect">
            <a:avLst/>
          </a:prstGeom>
        </p:spPr>
      </p:pic>
      <p:pic>
        <p:nvPicPr>
          <p:cNvPr id="40" name="object 40"/>
          <p:cNvPicPr/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1688" y="5644895"/>
            <a:ext cx="1807464" cy="691896"/>
          </a:xfrm>
          <a:prstGeom prst="rect">
            <a:avLst/>
          </a:prstGeom>
        </p:spPr>
      </p:pic>
      <p:grpSp>
        <p:nvGrpSpPr>
          <p:cNvPr id="41" name="object 41"/>
          <p:cNvGrpSpPr/>
          <p:nvPr/>
        </p:nvGrpSpPr>
        <p:grpSpPr>
          <a:xfrm>
            <a:off x="6368881" y="5519927"/>
            <a:ext cx="4555490" cy="942340"/>
            <a:chOff x="6368881" y="5519927"/>
            <a:chExt cx="4555490" cy="942340"/>
          </a:xfrm>
        </p:grpSpPr>
        <p:pic>
          <p:nvPicPr>
            <p:cNvPr id="42" name="object 42"/>
            <p:cNvPicPr/>
            <p:nvPr/>
          </p:nvPicPr>
          <p:blipFill>
            <a:blip r:embed="rId26" cstate="print"/>
            <a:stretch>
              <a:fillRect/>
            </a:stretch>
          </p:blipFill>
          <p:spPr>
            <a:xfrm>
              <a:off x="6368881" y="5666240"/>
              <a:ext cx="1615424" cy="639387"/>
            </a:xfrm>
            <a:prstGeom prst="rect">
              <a:avLst/>
            </a:prstGeom>
          </p:spPr>
        </p:pic>
        <p:pic>
          <p:nvPicPr>
            <p:cNvPr id="43" name="object 43"/>
            <p:cNvPicPr/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07095" y="5519927"/>
              <a:ext cx="2916936" cy="941832"/>
            </a:xfrm>
            <a:prstGeom prst="rect">
              <a:avLst/>
            </a:prstGeom>
          </p:spPr>
        </p:pic>
      </p:grpSp>
      <p:sp>
        <p:nvSpPr>
          <p:cNvPr id="44" name="object 44"/>
          <p:cNvSpPr txBox="1"/>
          <p:nvPr/>
        </p:nvSpPr>
        <p:spPr>
          <a:xfrm>
            <a:off x="691104" y="6484620"/>
            <a:ext cx="293306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i="1">
                <a:latin typeface="Calibri"/>
                <a:cs typeface="Calibri"/>
              </a:rPr>
              <a:t>Follow</a:t>
            </a:r>
            <a:r>
              <a:rPr sz="1400" b="1" i="1" spc="-4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us</a:t>
            </a:r>
            <a:r>
              <a:rPr sz="1400" b="1" i="1" spc="-3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on</a:t>
            </a:r>
            <a:r>
              <a:rPr sz="1400" b="1" i="1" spc="-4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Instagram</a:t>
            </a:r>
            <a:r>
              <a:rPr sz="1400" b="1" i="1" spc="-3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at</a:t>
            </a:r>
            <a:r>
              <a:rPr sz="1400" b="1" i="1" spc="-35">
                <a:latin typeface="Calibri"/>
                <a:cs typeface="Calibri"/>
              </a:rPr>
              <a:t> </a:t>
            </a:r>
            <a:r>
              <a:rPr sz="1400" b="1" i="1" spc="-10">
                <a:latin typeface="Calibri"/>
                <a:cs typeface="Calibri"/>
              </a:rPr>
              <a:t>cpasschicago</a:t>
            </a:r>
            <a:endParaRPr sz="1400">
              <a:latin typeface="Calibri"/>
              <a:cs typeface="Calibri"/>
            </a:endParaRPr>
          </a:p>
        </p:txBody>
      </p:sp>
      <p:pic>
        <p:nvPicPr>
          <p:cNvPr id="45" name="object 45"/>
          <p:cNvPicPr/>
          <p:nvPr/>
        </p:nvPicPr>
        <p:blipFill>
          <a:blip r:embed="rId28" cstate="print"/>
          <a:stretch>
            <a:fillRect/>
          </a:stretch>
        </p:blipFill>
        <p:spPr>
          <a:xfrm>
            <a:off x="299207" y="6458833"/>
            <a:ext cx="327012" cy="307776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524020" y="10"/>
            <a:ext cx="9144000" cy="3750945"/>
            <a:chOff x="1524020" y="10"/>
            <a:chExt cx="9144000" cy="375094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24020" y="10"/>
              <a:ext cx="5411529" cy="2969294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740675" y="10"/>
              <a:ext cx="4927325" cy="3750724"/>
            </a:xfrm>
            <a:prstGeom prst="rect">
              <a:avLst/>
            </a:prstGeom>
          </p:spPr>
        </p:pic>
      </p:grpSp>
      <p:grpSp>
        <p:nvGrpSpPr>
          <p:cNvPr id="5" name="object 5"/>
          <p:cNvGrpSpPr/>
          <p:nvPr/>
        </p:nvGrpSpPr>
        <p:grpSpPr>
          <a:xfrm>
            <a:off x="1524021" y="3106464"/>
            <a:ext cx="9144000" cy="3751579"/>
            <a:chOff x="1524021" y="3106464"/>
            <a:chExt cx="9144000" cy="3751579"/>
          </a:xfrm>
        </p:grpSpPr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60508" y="3887894"/>
              <a:ext cx="6007492" cy="2970105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524021" y="3106464"/>
              <a:ext cx="4657144" cy="3751497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211998" y="4719723"/>
            <a:ext cx="5793411" cy="1672100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592472" y="1576910"/>
            <a:ext cx="6870288" cy="2447596"/>
          </a:xfrm>
          <a:prstGeom prst="rect">
            <a:avLst/>
          </a:prstGeom>
        </p:spPr>
      </p:pic>
      <p:sp>
        <p:nvSpPr>
          <p:cNvPr id="4" name="object 4"/>
          <p:cNvSpPr/>
          <p:nvPr/>
        </p:nvSpPr>
        <p:spPr>
          <a:xfrm>
            <a:off x="0" y="6641629"/>
            <a:ext cx="12188825" cy="216535"/>
          </a:xfrm>
          <a:custGeom>
            <a:avLst/>
            <a:gdLst/>
            <a:ahLst/>
            <a:cxnLst/>
            <a:rect l="l" t="t" r="r" b="b"/>
            <a:pathLst>
              <a:path w="12188825" h="216534">
                <a:moveTo>
                  <a:pt x="12188825" y="0"/>
                </a:moveTo>
                <a:lnTo>
                  <a:pt x="0" y="0"/>
                </a:lnTo>
                <a:lnTo>
                  <a:pt x="0" y="216369"/>
                </a:lnTo>
                <a:lnTo>
                  <a:pt x="12188825" y="216369"/>
                </a:lnTo>
                <a:lnTo>
                  <a:pt x="12188825" y="0"/>
                </a:lnTo>
                <a:close/>
              </a:path>
            </a:pathLst>
          </a:custGeom>
          <a:solidFill>
            <a:srgbClr val="00B5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734942" y="3372467"/>
            <a:ext cx="10719435" cy="673100"/>
          </a:xfrm>
          <a:custGeom>
            <a:avLst/>
            <a:gdLst/>
            <a:ahLst/>
            <a:cxnLst/>
            <a:rect l="l" t="t" r="r" b="b"/>
            <a:pathLst>
              <a:path w="10719435" h="673100">
                <a:moveTo>
                  <a:pt x="10718939" y="0"/>
                </a:moveTo>
                <a:lnTo>
                  <a:pt x="0" y="0"/>
                </a:lnTo>
                <a:lnTo>
                  <a:pt x="0" y="673086"/>
                </a:lnTo>
                <a:lnTo>
                  <a:pt x="10718939" y="673086"/>
                </a:lnTo>
                <a:lnTo>
                  <a:pt x="1071893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algn="ctr"/>
            <a:endParaRPr dirty="0"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683418" y="3402541"/>
            <a:ext cx="10821988" cy="12439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en-US" sz="4000" b="1" dirty="0">
                <a:solidFill>
                  <a:srgbClr val="006232"/>
                </a:solidFill>
                <a:latin typeface="Arial"/>
                <a:cs typeface="Arial"/>
              </a:rPr>
              <a:t>Cook County </a:t>
            </a:r>
            <a:r>
              <a:rPr sz="4000" b="1" dirty="0">
                <a:solidFill>
                  <a:srgbClr val="006232"/>
                </a:solidFill>
                <a:latin typeface="Arial"/>
                <a:cs typeface="Arial"/>
              </a:rPr>
              <a:t>Case</a:t>
            </a:r>
            <a:r>
              <a:rPr sz="4000" b="1" spc="-55" dirty="0">
                <a:solidFill>
                  <a:srgbClr val="006232"/>
                </a:solidFill>
                <a:latin typeface="Arial"/>
                <a:cs typeface="Arial"/>
              </a:rPr>
              <a:t> </a:t>
            </a:r>
            <a:r>
              <a:rPr sz="4000" b="1" dirty="0">
                <a:solidFill>
                  <a:srgbClr val="006232"/>
                </a:solidFill>
                <a:latin typeface="Arial"/>
                <a:cs typeface="Arial"/>
              </a:rPr>
              <a:t>Registry</a:t>
            </a:r>
            <a:r>
              <a:rPr lang="en-US" sz="4000" b="1" dirty="0">
                <a:solidFill>
                  <a:srgbClr val="006232"/>
                </a:solidFill>
                <a:latin typeface="Arial"/>
                <a:cs typeface="Arial"/>
              </a:rPr>
              <a:t> and Prevention</a:t>
            </a:r>
            <a:r>
              <a:rPr sz="4000" b="1" spc="-45" dirty="0">
                <a:solidFill>
                  <a:srgbClr val="006232"/>
                </a:solidFill>
                <a:latin typeface="Arial"/>
                <a:cs typeface="Arial"/>
              </a:rPr>
              <a:t> </a:t>
            </a:r>
            <a:r>
              <a:rPr sz="4000" b="1" spc="-25" dirty="0">
                <a:solidFill>
                  <a:srgbClr val="006232"/>
                </a:solidFill>
                <a:latin typeface="Arial"/>
                <a:cs typeface="Arial"/>
              </a:rPr>
              <a:t>2019-</a:t>
            </a:r>
            <a:r>
              <a:rPr sz="4000" b="1" spc="-20" dirty="0">
                <a:solidFill>
                  <a:srgbClr val="006232"/>
                </a:solidFill>
                <a:latin typeface="Arial"/>
                <a:cs typeface="Arial"/>
              </a:rPr>
              <a:t>2022</a:t>
            </a:r>
            <a:endParaRPr sz="4000" dirty="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765301" y="321732"/>
            <a:ext cx="4255999" cy="3030720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765382" y="3524287"/>
            <a:ext cx="2007353" cy="2776405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893665" y="3514855"/>
            <a:ext cx="2127806" cy="2785950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6170528" y="321732"/>
            <a:ext cx="4256168" cy="5979073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667315" y="171714"/>
            <a:ext cx="4359897" cy="6129087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171695" y="171715"/>
            <a:ext cx="4352989" cy="3171422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171695" y="3514856"/>
            <a:ext cx="4339616" cy="2785949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667314" y="166533"/>
            <a:ext cx="5855953" cy="3176605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661508" y="166533"/>
            <a:ext cx="2867106" cy="3160652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667314" y="3509671"/>
            <a:ext cx="5855953" cy="3181796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7661509" y="3506740"/>
            <a:ext cx="2867105" cy="3184726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21731" y="557189"/>
            <a:ext cx="3722877" cy="3017283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801855" y="3647593"/>
            <a:ext cx="2242752" cy="3017222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134990" y="3466461"/>
            <a:ext cx="3012401" cy="3235812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8777496" y="3429000"/>
            <a:ext cx="3022813" cy="3235812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4677517" y="557188"/>
            <a:ext cx="2125762" cy="2834350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7436188" y="516818"/>
            <a:ext cx="3779133" cy="2834350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35215" y="297180"/>
            <a:ext cx="11033760" cy="1180322"/>
          </a:xfrm>
          <a:prstGeom prst="rect">
            <a:avLst/>
          </a:prstGeom>
        </p:spPr>
        <p:txBody>
          <a:bodyPr vert="horz" wrap="square" lIns="0" tIns="620267" rIns="0" bIns="0" rtlCol="0">
            <a:spAutoFit/>
          </a:bodyPr>
          <a:lstStyle/>
          <a:p>
            <a:pPr marL="4084320">
              <a:lnSpc>
                <a:spcPct val="100000"/>
              </a:lnSpc>
              <a:spcBef>
                <a:spcPts val="100"/>
              </a:spcBef>
            </a:pPr>
            <a:r>
              <a:rPr sz="3600">
                <a:solidFill>
                  <a:srgbClr val="00247F"/>
                </a:solidFill>
                <a:latin typeface="Calibri"/>
                <a:cs typeface="Calibri"/>
              </a:rPr>
              <a:t>Safe</a:t>
            </a:r>
            <a:r>
              <a:rPr sz="3600" spc="-114">
                <a:solidFill>
                  <a:srgbClr val="00247F"/>
                </a:solidFill>
                <a:latin typeface="Calibri"/>
                <a:cs typeface="Calibri"/>
              </a:rPr>
              <a:t> </a:t>
            </a:r>
            <a:r>
              <a:rPr sz="3600">
                <a:solidFill>
                  <a:srgbClr val="00247F"/>
                </a:solidFill>
                <a:latin typeface="Calibri"/>
                <a:cs typeface="Calibri"/>
              </a:rPr>
              <a:t>Sleep</a:t>
            </a:r>
            <a:r>
              <a:rPr sz="3600" spc="-100">
                <a:solidFill>
                  <a:srgbClr val="00247F"/>
                </a:solidFill>
                <a:latin typeface="Calibri"/>
                <a:cs typeface="Calibri"/>
              </a:rPr>
              <a:t> </a:t>
            </a:r>
            <a:r>
              <a:rPr sz="3600" spc="-20">
                <a:solidFill>
                  <a:srgbClr val="00247F"/>
                </a:solidFill>
                <a:latin typeface="Calibri"/>
                <a:cs typeface="Calibri"/>
              </a:rPr>
              <a:t>Video</a:t>
            </a:r>
            <a:endParaRPr sz="3600">
              <a:latin typeface="Calibri"/>
              <a:cs typeface="Calibri"/>
            </a:endParaRPr>
          </a:p>
        </p:txBody>
      </p:sp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1100165" y="5790822"/>
            <a:ext cx="904875" cy="896112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373436" y="1854200"/>
            <a:ext cx="5786437" cy="4197349"/>
          </a:xfrm>
          <a:prstGeom prst="rect">
            <a:avLst/>
          </a:prstGeom>
        </p:spPr>
      </p:pic>
      <p:pic>
        <p:nvPicPr>
          <p:cNvPr id="5" name="Online Media 4" title="Sleep Safety for Infants">
            <a:hlinkClick r:id="" action="ppaction://media"/>
            <a:extLst>
              <a:ext uri="{FF2B5EF4-FFF2-40B4-BE49-F238E27FC236}">
                <a16:creationId xmlns:a16="http://schemas.microsoft.com/office/drawing/2014/main" id="{5BD9AE8C-FB0A-364F-55E3-49A63747952F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5"/>
          <a:stretch>
            <a:fillRect/>
          </a:stretch>
        </p:blipFill>
        <p:spPr>
          <a:xfrm>
            <a:off x="1241425" y="685800"/>
            <a:ext cx="9710738" cy="5486400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90102" y="2126447"/>
            <a:ext cx="3537585" cy="1687195"/>
          </a:xfrm>
          <a:custGeom>
            <a:avLst/>
            <a:gdLst/>
            <a:ahLst/>
            <a:cxnLst/>
            <a:rect l="l" t="t" r="r" b="b"/>
            <a:pathLst>
              <a:path w="3537585" h="1687195">
                <a:moveTo>
                  <a:pt x="1473813" y="1499417"/>
                </a:moveTo>
                <a:lnTo>
                  <a:pt x="589525" y="1499417"/>
                </a:lnTo>
                <a:lnTo>
                  <a:pt x="1031680" y="1686844"/>
                </a:lnTo>
                <a:lnTo>
                  <a:pt x="1473813" y="1499417"/>
                </a:lnTo>
                <a:close/>
              </a:path>
              <a:path w="3537585" h="1687195">
                <a:moveTo>
                  <a:pt x="3287247" y="0"/>
                </a:moveTo>
                <a:lnTo>
                  <a:pt x="249905" y="0"/>
                </a:lnTo>
                <a:lnTo>
                  <a:pt x="204984" y="4026"/>
                </a:lnTo>
                <a:lnTo>
                  <a:pt x="162705" y="15634"/>
                </a:lnTo>
                <a:lnTo>
                  <a:pt x="123773" y="34119"/>
                </a:lnTo>
                <a:lnTo>
                  <a:pt x="88894" y="58774"/>
                </a:lnTo>
                <a:lnTo>
                  <a:pt x="58774" y="88894"/>
                </a:lnTo>
                <a:lnTo>
                  <a:pt x="34119" y="123773"/>
                </a:lnTo>
                <a:lnTo>
                  <a:pt x="15634" y="162705"/>
                </a:lnTo>
                <a:lnTo>
                  <a:pt x="4026" y="204984"/>
                </a:lnTo>
                <a:lnTo>
                  <a:pt x="0" y="249905"/>
                </a:lnTo>
                <a:lnTo>
                  <a:pt x="0" y="1249516"/>
                </a:lnTo>
                <a:lnTo>
                  <a:pt x="4026" y="1294433"/>
                </a:lnTo>
                <a:lnTo>
                  <a:pt x="15634" y="1336712"/>
                </a:lnTo>
                <a:lnTo>
                  <a:pt x="34119" y="1375644"/>
                </a:lnTo>
                <a:lnTo>
                  <a:pt x="58774" y="1410523"/>
                </a:lnTo>
                <a:lnTo>
                  <a:pt x="88894" y="1440643"/>
                </a:lnTo>
                <a:lnTo>
                  <a:pt x="123773" y="1465298"/>
                </a:lnTo>
                <a:lnTo>
                  <a:pt x="162705" y="1483783"/>
                </a:lnTo>
                <a:lnTo>
                  <a:pt x="204984" y="1495391"/>
                </a:lnTo>
                <a:lnTo>
                  <a:pt x="249905" y="1499417"/>
                </a:lnTo>
                <a:lnTo>
                  <a:pt x="3287247" y="1499417"/>
                </a:lnTo>
                <a:lnTo>
                  <a:pt x="3332168" y="1495391"/>
                </a:lnTo>
                <a:lnTo>
                  <a:pt x="3374447" y="1483783"/>
                </a:lnTo>
                <a:lnTo>
                  <a:pt x="3413379" y="1465298"/>
                </a:lnTo>
                <a:lnTo>
                  <a:pt x="3448258" y="1440643"/>
                </a:lnTo>
                <a:lnTo>
                  <a:pt x="3478378" y="1410523"/>
                </a:lnTo>
                <a:lnTo>
                  <a:pt x="3503033" y="1375644"/>
                </a:lnTo>
                <a:lnTo>
                  <a:pt x="3521518" y="1336712"/>
                </a:lnTo>
                <a:lnTo>
                  <a:pt x="3533126" y="1294433"/>
                </a:lnTo>
                <a:lnTo>
                  <a:pt x="3537152" y="1249516"/>
                </a:lnTo>
                <a:lnTo>
                  <a:pt x="3537153" y="249905"/>
                </a:lnTo>
                <a:lnTo>
                  <a:pt x="3533126" y="204984"/>
                </a:lnTo>
                <a:lnTo>
                  <a:pt x="3521518" y="162705"/>
                </a:lnTo>
                <a:lnTo>
                  <a:pt x="3503033" y="123773"/>
                </a:lnTo>
                <a:lnTo>
                  <a:pt x="3478378" y="88894"/>
                </a:lnTo>
                <a:lnTo>
                  <a:pt x="3448258" y="58774"/>
                </a:lnTo>
                <a:lnTo>
                  <a:pt x="3413379" y="34119"/>
                </a:lnTo>
                <a:lnTo>
                  <a:pt x="3374447" y="15634"/>
                </a:lnTo>
                <a:lnTo>
                  <a:pt x="3332168" y="4026"/>
                </a:lnTo>
                <a:lnTo>
                  <a:pt x="3287247" y="0"/>
                </a:lnTo>
                <a:close/>
              </a:path>
            </a:pathLst>
          </a:custGeom>
          <a:solidFill>
            <a:srgbClr val="DEEBF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2259368" y="2104644"/>
            <a:ext cx="3201035" cy="152209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-3175" algn="ctr">
              <a:lnSpc>
                <a:spcPct val="100200"/>
              </a:lnSpc>
              <a:spcBef>
                <a:spcPts val="95"/>
              </a:spcBef>
            </a:pPr>
            <a:r>
              <a:rPr sz="1400" i="1">
                <a:latin typeface="Calibri"/>
                <a:cs typeface="Calibri"/>
              </a:rPr>
              <a:t>I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feel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as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though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the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safe</a:t>
            </a:r>
            <a:r>
              <a:rPr sz="1400" i="1" spc="-4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sleep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video</a:t>
            </a:r>
            <a:r>
              <a:rPr sz="1400" i="1" spc="-40">
                <a:latin typeface="Calibri"/>
                <a:cs typeface="Calibri"/>
              </a:rPr>
              <a:t> </a:t>
            </a:r>
            <a:r>
              <a:rPr sz="1400" i="1" spc="-25">
                <a:latin typeface="Calibri"/>
                <a:cs typeface="Calibri"/>
              </a:rPr>
              <a:t>is </a:t>
            </a:r>
            <a:r>
              <a:rPr sz="1400" i="1" spc="-10">
                <a:latin typeface="Calibri"/>
                <a:cs typeface="Calibri"/>
              </a:rPr>
              <a:t>extremely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helpful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because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I’m</a:t>
            </a:r>
            <a:r>
              <a:rPr sz="1400" b="1" i="1" spc="-3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able</a:t>
            </a:r>
            <a:r>
              <a:rPr sz="1400" b="1" i="1" spc="-3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to</a:t>
            </a:r>
            <a:r>
              <a:rPr sz="1400" b="1" i="1" spc="-35">
                <a:latin typeface="Calibri"/>
                <a:cs typeface="Calibri"/>
              </a:rPr>
              <a:t> </a:t>
            </a:r>
            <a:r>
              <a:rPr sz="1400" b="1" i="1" spc="-20">
                <a:latin typeface="Calibri"/>
                <a:cs typeface="Calibri"/>
              </a:rPr>
              <a:t>hear </a:t>
            </a:r>
            <a:r>
              <a:rPr sz="1400" b="1" i="1">
                <a:latin typeface="Calibri"/>
                <a:cs typeface="Calibri"/>
              </a:rPr>
              <a:t>the</a:t>
            </a:r>
            <a:r>
              <a:rPr sz="1400" b="1" i="1" spc="-25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point</a:t>
            </a:r>
            <a:r>
              <a:rPr sz="1400" b="1" i="1" spc="-2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of</a:t>
            </a:r>
            <a:r>
              <a:rPr sz="1400" b="1" i="1" spc="-3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view</a:t>
            </a:r>
            <a:r>
              <a:rPr sz="1400" b="1" i="1" spc="-25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from</a:t>
            </a:r>
            <a:r>
              <a:rPr sz="1400" b="1" i="1" spc="-2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a</a:t>
            </a:r>
            <a:r>
              <a:rPr sz="1400" b="1" i="1" spc="-25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parent</a:t>
            </a:r>
            <a:r>
              <a:rPr sz="1400" b="1" i="1" spc="-2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who</a:t>
            </a:r>
            <a:r>
              <a:rPr sz="1400" b="1" i="1" spc="-20">
                <a:latin typeface="Calibri"/>
                <a:cs typeface="Calibri"/>
              </a:rPr>
              <a:t> </a:t>
            </a:r>
            <a:r>
              <a:rPr sz="1400" b="1" i="1" spc="-25">
                <a:latin typeface="Calibri"/>
                <a:cs typeface="Calibri"/>
              </a:rPr>
              <a:t>has </a:t>
            </a:r>
            <a:r>
              <a:rPr sz="1400" b="1" i="1">
                <a:latin typeface="Calibri"/>
                <a:cs typeface="Calibri"/>
              </a:rPr>
              <a:t>lost</a:t>
            </a:r>
            <a:r>
              <a:rPr sz="1400" b="1" i="1" spc="-35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her</a:t>
            </a:r>
            <a:r>
              <a:rPr sz="1400" b="1" i="1" spc="-4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child</a:t>
            </a:r>
            <a:r>
              <a:rPr sz="1400" b="1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due</a:t>
            </a:r>
            <a:r>
              <a:rPr sz="1400" i="1" spc="-4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to</a:t>
            </a:r>
            <a:r>
              <a:rPr sz="1400" i="1" spc="-4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unsafe</a:t>
            </a:r>
            <a:r>
              <a:rPr sz="1400" i="1" spc="-4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sleeping.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 spc="-20">
                <a:latin typeface="Calibri"/>
                <a:cs typeface="Calibri"/>
              </a:rPr>
              <a:t>This </a:t>
            </a:r>
            <a:r>
              <a:rPr sz="1400" i="1">
                <a:latin typeface="Calibri"/>
                <a:cs typeface="Calibri"/>
              </a:rPr>
              <a:t>video</a:t>
            </a:r>
            <a:r>
              <a:rPr sz="1400" i="1" spc="-4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has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now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alerted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me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on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what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not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to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 spc="-25">
                <a:latin typeface="Calibri"/>
                <a:cs typeface="Calibri"/>
              </a:rPr>
              <a:t>do </a:t>
            </a:r>
            <a:r>
              <a:rPr sz="1400" i="1">
                <a:latin typeface="Calibri"/>
                <a:cs typeface="Calibri"/>
              </a:rPr>
              <a:t>with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my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baby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and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how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I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can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avoid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 spc="-10">
                <a:latin typeface="Calibri"/>
                <a:cs typeface="Calibri"/>
              </a:rPr>
              <a:t>unsafe sleeping.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480602" y="683675"/>
            <a:ext cx="3537585" cy="1682114"/>
          </a:xfrm>
          <a:custGeom>
            <a:avLst/>
            <a:gdLst/>
            <a:ahLst/>
            <a:cxnLst/>
            <a:rect l="l" t="t" r="r" b="b"/>
            <a:pathLst>
              <a:path w="3537584" h="1682114">
                <a:moveTo>
                  <a:pt x="1473813" y="1494664"/>
                </a:moveTo>
                <a:lnTo>
                  <a:pt x="589525" y="1494664"/>
                </a:lnTo>
                <a:lnTo>
                  <a:pt x="1031680" y="1681499"/>
                </a:lnTo>
                <a:lnTo>
                  <a:pt x="1473813" y="1494664"/>
                </a:lnTo>
                <a:close/>
              </a:path>
              <a:path w="3537584" h="1682114">
                <a:moveTo>
                  <a:pt x="3288036" y="0"/>
                </a:moveTo>
                <a:lnTo>
                  <a:pt x="249116" y="0"/>
                </a:lnTo>
                <a:lnTo>
                  <a:pt x="204337" y="4013"/>
                </a:lnTo>
                <a:lnTo>
                  <a:pt x="162191" y="15585"/>
                </a:lnTo>
                <a:lnTo>
                  <a:pt x="123382" y="34011"/>
                </a:lnTo>
                <a:lnTo>
                  <a:pt x="88613" y="58588"/>
                </a:lnTo>
                <a:lnTo>
                  <a:pt x="58588" y="88613"/>
                </a:lnTo>
                <a:lnTo>
                  <a:pt x="34011" y="123382"/>
                </a:lnTo>
                <a:lnTo>
                  <a:pt x="15585" y="162191"/>
                </a:lnTo>
                <a:lnTo>
                  <a:pt x="4013" y="204337"/>
                </a:lnTo>
                <a:lnTo>
                  <a:pt x="0" y="249116"/>
                </a:lnTo>
                <a:lnTo>
                  <a:pt x="0" y="1245555"/>
                </a:lnTo>
                <a:lnTo>
                  <a:pt x="4013" y="1290326"/>
                </a:lnTo>
                <a:lnTo>
                  <a:pt x="15585" y="1332472"/>
                </a:lnTo>
                <a:lnTo>
                  <a:pt x="34011" y="1371281"/>
                </a:lnTo>
                <a:lnTo>
                  <a:pt x="58588" y="1406050"/>
                </a:lnTo>
                <a:lnTo>
                  <a:pt x="88613" y="1436075"/>
                </a:lnTo>
                <a:lnTo>
                  <a:pt x="123382" y="1460652"/>
                </a:lnTo>
                <a:lnTo>
                  <a:pt x="162191" y="1479078"/>
                </a:lnTo>
                <a:lnTo>
                  <a:pt x="204337" y="1490650"/>
                </a:lnTo>
                <a:lnTo>
                  <a:pt x="249116" y="1494664"/>
                </a:lnTo>
                <a:lnTo>
                  <a:pt x="3288036" y="1494664"/>
                </a:lnTo>
                <a:lnTo>
                  <a:pt x="3332815" y="1490650"/>
                </a:lnTo>
                <a:lnTo>
                  <a:pt x="3374961" y="1479078"/>
                </a:lnTo>
                <a:lnTo>
                  <a:pt x="3413770" y="1460652"/>
                </a:lnTo>
                <a:lnTo>
                  <a:pt x="3448538" y="1436075"/>
                </a:lnTo>
                <a:lnTo>
                  <a:pt x="3478563" y="1406050"/>
                </a:lnTo>
                <a:lnTo>
                  <a:pt x="3503141" y="1371281"/>
                </a:lnTo>
                <a:lnTo>
                  <a:pt x="3521567" y="1332472"/>
                </a:lnTo>
                <a:lnTo>
                  <a:pt x="3533139" y="1290326"/>
                </a:lnTo>
                <a:lnTo>
                  <a:pt x="3537152" y="1245555"/>
                </a:lnTo>
                <a:lnTo>
                  <a:pt x="3537153" y="249116"/>
                </a:lnTo>
                <a:lnTo>
                  <a:pt x="3533139" y="204337"/>
                </a:lnTo>
                <a:lnTo>
                  <a:pt x="3521567" y="162191"/>
                </a:lnTo>
                <a:lnTo>
                  <a:pt x="3503141" y="123382"/>
                </a:lnTo>
                <a:lnTo>
                  <a:pt x="3478563" y="88613"/>
                </a:lnTo>
                <a:lnTo>
                  <a:pt x="3448538" y="58588"/>
                </a:lnTo>
                <a:lnTo>
                  <a:pt x="3413770" y="34011"/>
                </a:lnTo>
                <a:lnTo>
                  <a:pt x="3374961" y="15585"/>
                </a:lnTo>
                <a:lnTo>
                  <a:pt x="3332815" y="4013"/>
                </a:lnTo>
                <a:lnTo>
                  <a:pt x="3288036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5686539" y="796035"/>
            <a:ext cx="3124835" cy="124777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1905" algn="ctr">
              <a:lnSpc>
                <a:spcPct val="100299"/>
              </a:lnSpc>
              <a:spcBef>
                <a:spcPts val="95"/>
              </a:spcBef>
            </a:pPr>
            <a:r>
              <a:rPr sz="1600" i="1">
                <a:latin typeface="Calibri"/>
                <a:cs typeface="Calibri"/>
              </a:rPr>
              <a:t>Being</a:t>
            </a:r>
            <a:r>
              <a:rPr sz="1600" i="1" spc="-2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a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first</a:t>
            </a:r>
            <a:r>
              <a:rPr sz="1600" i="1" spc="-2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time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mom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when</a:t>
            </a:r>
            <a:r>
              <a:rPr sz="1600" i="1" spc="-2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the</a:t>
            </a:r>
            <a:r>
              <a:rPr sz="1600" i="1" spc="-25">
                <a:latin typeface="Calibri"/>
                <a:cs typeface="Calibri"/>
              </a:rPr>
              <a:t> </a:t>
            </a:r>
            <a:r>
              <a:rPr sz="1600" i="1" spc="-20">
                <a:latin typeface="Calibri"/>
                <a:cs typeface="Calibri"/>
              </a:rPr>
              <a:t>lady </a:t>
            </a:r>
            <a:r>
              <a:rPr sz="1600" i="1">
                <a:latin typeface="Calibri"/>
                <a:cs typeface="Calibri"/>
              </a:rPr>
              <a:t>said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“you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would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never</a:t>
            </a:r>
            <a:r>
              <a:rPr sz="1600" i="1" spc="-2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think</a:t>
            </a:r>
            <a:r>
              <a:rPr sz="1600" i="1" spc="-35">
                <a:latin typeface="Calibri"/>
                <a:cs typeface="Calibri"/>
              </a:rPr>
              <a:t> </a:t>
            </a:r>
            <a:r>
              <a:rPr sz="1600" i="1" spc="-20">
                <a:latin typeface="Calibri"/>
                <a:cs typeface="Calibri"/>
              </a:rPr>
              <a:t>it’ll </a:t>
            </a:r>
            <a:r>
              <a:rPr sz="1600" i="1">
                <a:latin typeface="Calibri"/>
                <a:cs typeface="Calibri"/>
              </a:rPr>
              <a:t>happen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to</a:t>
            </a:r>
            <a:r>
              <a:rPr sz="1600" i="1" spc="-2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you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until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it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does”</a:t>
            </a:r>
            <a:r>
              <a:rPr sz="1600" i="1" spc="-2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it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 spc="-20">
                <a:latin typeface="Calibri"/>
                <a:cs typeface="Calibri"/>
              </a:rPr>
              <a:t>stuck </a:t>
            </a:r>
            <a:r>
              <a:rPr sz="1600" i="1">
                <a:latin typeface="Calibri"/>
                <a:cs typeface="Calibri"/>
              </a:rPr>
              <a:t>out</a:t>
            </a:r>
            <a:r>
              <a:rPr sz="1600" i="1" spc="-3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to</a:t>
            </a:r>
            <a:r>
              <a:rPr sz="1600" i="1" spc="-3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me.</a:t>
            </a:r>
            <a:r>
              <a:rPr sz="1600" i="1" spc="-40">
                <a:latin typeface="Calibri"/>
                <a:cs typeface="Calibri"/>
              </a:rPr>
              <a:t> </a:t>
            </a:r>
            <a:r>
              <a:rPr sz="1600" b="1" i="1">
                <a:latin typeface="Calibri"/>
                <a:cs typeface="Calibri"/>
              </a:rPr>
              <a:t>Preparation</a:t>
            </a:r>
            <a:r>
              <a:rPr sz="1600" b="1" i="1" spc="-30">
                <a:latin typeface="Calibri"/>
                <a:cs typeface="Calibri"/>
              </a:rPr>
              <a:t> </a:t>
            </a:r>
            <a:r>
              <a:rPr sz="1600" b="1" i="1">
                <a:latin typeface="Calibri"/>
                <a:cs typeface="Calibri"/>
              </a:rPr>
              <a:t>is</a:t>
            </a:r>
            <a:r>
              <a:rPr sz="1600" b="1" i="1" spc="-45">
                <a:latin typeface="Calibri"/>
                <a:cs typeface="Calibri"/>
              </a:rPr>
              <a:t> </a:t>
            </a:r>
            <a:r>
              <a:rPr sz="1600" b="1" i="1">
                <a:latin typeface="Calibri"/>
                <a:cs typeface="Calibri"/>
              </a:rPr>
              <a:t>key</a:t>
            </a:r>
            <a:r>
              <a:rPr sz="1600" i="1">
                <a:latin typeface="Calibri"/>
                <a:cs typeface="Calibri"/>
              </a:rPr>
              <a:t>!</a:t>
            </a:r>
            <a:r>
              <a:rPr sz="1600" i="1" spc="-35">
                <a:latin typeface="Calibri"/>
                <a:cs typeface="Calibri"/>
              </a:rPr>
              <a:t> </a:t>
            </a:r>
            <a:r>
              <a:rPr sz="1600" i="1" spc="-10">
                <a:latin typeface="Calibri"/>
                <a:cs typeface="Calibri"/>
              </a:rPr>
              <a:t>Having </a:t>
            </a:r>
            <a:r>
              <a:rPr sz="1600" i="1">
                <a:latin typeface="Calibri"/>
                <a:cs typeface="Calibri"/>
              </a:rPr>
              <a:t>a</a:t>
            </a:r>
            <a:r>
              <a:rPr sz="1600" i="1" spc="-3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crib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for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my</a:t>
            </a:r>
            <a:r>
              <a:rPr sz="1600" i="1" spc="-4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baby</a:t>
            </a:r>
            <a:r>
              <a:rPr sz="1600" i="1" spc="-3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is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the</a:t>
            </a:r>
            <a:r>
              <a:rPr sz="1600" i="1" spc="-4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safest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 spc="-10">
                <a:latin typeface="Calibri"/>
                <a:cs typeface="Calibri"/>
              </a:rPr>
              <a:t>option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5424402" y="3269475"/>
            <a:ext cx="3537585" cy="1682114"/>
          </a:xfrm>
          <a:custGeom>
            <a:avLst/>
            <a:gdLst/>
            <a:ahLst/>
            <a:cxnLst/>
            <a:rect l="l" t="t" r="r" b="b"/>
            <a:pathLst>
              <a:path w="3537584" h="1682114">
                <a:moveTo>
                  <a:pt x="1473814" y="1494665"/>
                </a:moveTo>
                <a:lnTo>
                  <a:pt x="589526" y="1494665"/>
                </a:lnTo>
                <a:lnTo>
                  <a:pt x="1031681" y="1681499"/>
                </a:lnTo>
                <a:lnTo>
                  <a:pt x="1473814" y="1494665"/>
                </a:lnTo>
                <a:close/>
              </a:path>
              <a:path w="3537584" h="1682114">
                <a:moveTo>
                  <a:pt x="3288036" y="0"/>
                </a:moveTo>
                <a:lnTo>
                  <a:pt x="249118" y="0"/>
                </a:lnTo>
                <a:lnTo>
                  <a:pt x="204338" y="4013"/>
                </a:lnTo>
                <a:lnTo>
                  <a:pt x="162192" y="15585"/>
                </a:lnTo>
                <a:lnTo>
                  <a:pt x="123383" y="34011"/>
                </a:lnTo>
                <a:lnTo>
                  <a:pt x="88614" y="58589"/>
                </a:lnTo>
                <a:lnTo>
                  <a:pt x="58589" y="88614"/>
                </a:lnTo>
                <a:lnTo>
                  <a:pt x="34011" y="123383"/>
                </a:lnTo>
                <a:lnTo>
                  <a:pt x="15585" y="162192"/>
                </a:lnTo>
                <a:lnTo>
                  <a:pt x="4013" y="204338"/>
                </a:lnTo>
                <a:lnTo>
                  <a:pt x="0" y="249118"/>
                </a:lnTo>
                <a:lnTo>
                  <a:pt x="0" y="1245556"/>
                </a:lnTo>
                <a:lnTo>
                  <a:pt x="4013" y="1290327"/>
                </a:lnTo>
                <a:lnTo>
                  <a:pt x="15585" y="1332473"/>
                </a:lnTo>
                <a:lnTo>
                  <a:pt x="34011" y="1371282"/>
                </a:lnTo>
                <a:lnTo>
                  <a:pt x="58589" y="1406051"/>
                </a:lnTo>
                <a:lnTo>
                  <a:pt x="88614" y="1436076"/>
                </a:lnTo>
                <a:lnTo>
                  <a:pt x="123383" y="1460653"/>
                </a:lnTo>
                <a:lnTo>
                  <a:pt x="162192" y="1479080"/>
                </a:lnTo>
                <a:lnTo>
                  <a:pt x="204338" y="1490651"/>
                </a:lnTo>
                <a:lnTo>
                  <a:pt x="249118" y="1494665"/>
                </a:lnTo>
                <a:lnTo>
                  <a:pt x="3288036" y="1494665"/>
                </a:lnTo>
                <a:lnTo>
                  <a:pt x="3332815" y="1490651"/>
                </a:lnTo>
                <a:lnTo>
                  <a:pt x="3374961" y="1479080"/>
                </a:lnTo>
                <a:lnTo>
                  <a:pt x="3413770" y="1460653"/>
                </a:lnTo>
                <a:lnTo>
                  <a:pt x="3448538" y="1436076"/>
                </a:lnTo>
                <a:lnTo>
                  <a:pt x="3478563" y="1406051"/>
                </a:lnTo>
                <a:lnTo>
                  <a:pt x="3503141" y="1371282"/>
                </a:lnTo>
                <a:lnTo>
                  <a:pt x="3521567" y="1332473"/>
                </a:lnTo>
                <a:lnTo>
                  <a:pt x="3533139" y="1290327"/>
                </a:lnTo>
                <a:lnTo>
                  <a:pt x="3537152" y="1245556"/>
                </a:lnTo>
                <a:lnTo>
                  <a:pt x="3537153" y="249118"/>
                </a:lnTo>
                <a:lnTo>
                  <a:pt x="3533139" y="204338"/>
                </a:lnTo>
                <a:lnTo>
                  <a:pt x="3521567" y="162192"/>
                </a:lnTo>
                <a:lnTo>
                  <a:pt x="3503141" y="123383"/>
                </a:lnTo>
                <a:lnTo>
                  <a:pt x="3478563" y="88614"/>
                </a:lnTo>
                <a:lnTo>
                  <a:pt x="3448538" y="58589"/>
                </a:lnTo>
                <a:lnTo>
                  <a:pt x="3413770" y="34011"/>
                </a:lnTo>
                <a:lnTo>
                  <a:pt x="3374961" y="15585"/>
                </a:lnTo>
                <a:lnTo>
                  <a:pt x="3332815" y="4013"/>
                </a:lnTo>
                <a:lnTo>
                  <a:pt x="3288036" y="0"/>
                </a:lnTo>
                <a:close/>
              </a:path>
            </a:pathLst>
          </a:custGeom>
          <a:solidFill>
            <a:srgbClr val="DEEBF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5618782" y="3351276"/>
            <a:ext cx="3150235" cy="1305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635" algn="ctr">
              <a:lnSpc>
                <a:spcPct val="100000"/>
              </a:lnSpc>
              <a:spcBef>
                <a:spcPts val="100"/>
              </a:spcBef>
            </a:pPr>
            <a:r>
              <a:rPr sz="1400" i="1">
                <a:latin typeface="Calibri"/>
                <a:cs typeface="Calibri"/>
              </a:rPr>
              <a:t>The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video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was</a:t>
            </a:r>
            <a:r>
              <a:rPr sz="1400" i="1" spc="-1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very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helpful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im</a:t>
            </a:r>
            <a:r>
              <a:rPr sz="1400" i="1" spc="-1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a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first</a:t>
            </a:r>
            <a:r>
              <a:rPr sz="1400" i="1" spc="-20">
                <a:latin typeface="Calibri"/>
                <a:cs typeface="Calibri"/>
              </a:rPr>
              <a:t> time </a:t>
            </a:r>
            <a:r>
              <a:rPr sz="1400" i="1">
                <a:latin typeface="Calibri"/>
                <a:cs typeface="Calibri"/>
              </a:rPr>
              <a:t>mom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and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actually</a:t>
            </a:r>
            <a:r>
              <a:rPr sz="1400" b="1" i="1" spc="-25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planned</a:t>
            </a:r>
            <a:r>
              <a:rPr sz="1400" b="1" i="1" spc="-3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on</a:t>
            </a:r>
            <a:r>
              <a:rPr sz="1400" b="1" i="1" spc="-30">
                <a:latin typeface="Calibri"/>
                <a:cs typeface="Calibri"/>
              </a:rPr>
              <a:t> </a:t>
            </a:r>
            <a:r>
              <a:rPr sz="1400" b="1" i="1" spc="-10">
                <a:latin typeface="Calibri"/>
                <a:cs typeface="Calibri"/>
              </a:rPr>
              <a:t>sleeping </a:t>
            </a:r>
            <a:r>
              <a:rPr sz="1400" b="1" i="1">
                <a:latin typeface="Calibri"/>
                <a:cs typeface="Calibri"/>
              </a:rPr>
              <a:t>with</a:t>
            </a:r>
            <a:r>
              <a:rPr sz="1400" b="1" i="1" spc="-25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my</a:t>
            </a:r>
            <a:r>
              <a:rPr sz="1400" b="1" i="1" spc="-25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baby</a:t>
            </a:r>
            <a:r>
              <a:rPr sz="1400" b="1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in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my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bed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but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now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that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I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 spc="-25">
                <a:latin typeface="Calibri"/>
                <a:cs typeface="Calibri"/>
              </a:rPr>
              <a:t>see </a:t>
            </a:r>
            <a:r>
              <a:rPr sz="1400" i="1">
                <a:latin typeface="Calibri"/>
                <a:cs typeface="Calibri"/>
              </a:rPr>
              <a:t>the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video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I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see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that</a:t>
            </a:r>
            <a:r>
              <a:rPr sz="1400" i="1" spc="-1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its</a:t>
            </a:r>
            <a:r>
              <a:rPr sz="1400" i="1" spc="-1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not</a:t>
            </a:r>
            <a:r>
              <a:rPr sz="1400" i="1" spc="-1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safe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helped</a:t>
            </a:r>
            <a:r>
              <a:rPr sz="1400" i="1" spc="-1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me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 spc="-50">
                <a:latin typeface="Calibri"/>
                <a:cs typeface="Calibri"/>
              </a:rPr>
              <a:t>a </a:t>
            </a:r>
            <a:r>
              <a:rPr sz="1400" i="1">
                <a:latin typeface="Calibri"/>
                <a:cs typeface="Calibri"/>
              </a:rPr>
              <a:t>lot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to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understand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the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danger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of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 spc="-10">
                <a:latin typeface="Calibri"/>
                <a:cs typeface="Calibri"/>
              </a:rPr>
              <a:t>sleeping </a:t>
            </a:r>
            <a:r>
              <a:rPr sz="1400" i="1">
                <a:latin typeface="Calibri"/>
                <a:cs typeface="Calibri"/>
              </a:rPr>
              <a:t>with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my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baby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thank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 spc="-25">
                <a:latin typeface="Calibri"/>
                <a:cs typeface="Calibri"/>
              </a:rPr>
              <a:t>you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751345" y="3855487"/>
            <a:ext cx="3537585" cy="1687195"/>
          </a:xfrm>
          <a:custGeom>
            <a:avLst/>
            <a:gdLst/>
            <a:ahLst/>
            <a:cxnLst/>
            <a:rect l="l" t="t" r="r" b="b"/>
            <a:pathLst>
              <a:path w="3537585" h="1687195">
                <a:moveTo>
                  <a:pt x="1473814" y="1499421"/>
                </a:moveTo>
                <a:lnTo>
                  <a:pt x="589525" y="1499421"/>
                </a:lnTo>
                <a:lnTo>
                  <a:pt x="1031681" y="1686847"/>
                </a:lnTo>
                <a:lnTo>
                  <a:pt x="1473814" y="1499421"/>
                </a:lnTo>
                <a:close/>
              </a:path>
              <a:path w="3537585" h="1687195">
                <a:moveTo>
                  <a:pt x="3287247" y="0"/>
                </a:moveTo>
                <a:lnTo>
                  <a:pt x="249906" y="0"/>
                </a:lnTo>
                <a:lnTo>
                  <a:pt x="204985" y="4026"/>
                </a:lnTo>
                <a:lnTo>
                  <a:pt x="162705" y="15634"/>
                </a:lnTo>
                <a:lnTo>
                  <a:pt x="123773" y="34119"/>
                </a:lnTo>
                <a:lnTo>
                  <a:pt x="88894" y="58774"/>
                </a:lnTo>
                <a:lnTo>
                  <a:pt x="58774" y="88894"/>
                </a:lnTo>
                <a:lnTo>
                  <a:pt x="34119" y="123774"/>
                </a:lnTo>
                <a:lnTo>
                  <a:pt x="15634" y="162706"/>
                </a:lnTo>
                <a:lnTo>
                  <a:pt x="4026" y="204985"/>
                </a:lnTo>
                <a:lnTo>
                  <a:pt x="0" y="249906"/>
                </a:lnTo>
                <a:lnTo>
                  <a:pt x="0" y="1249518"/>
                </a:lnTo>
                <a:lnTo>
                  <a:pt x="4026" y="1294435"/>
                </a:lnTo>
                <a:lnTo>
                  <a:pt x="15634" y="1336715"/>
                </a:lnTo>
                <a:lnTo>
                  <a:pt x="34119" y="1375647"/>
                </a:lnTo>
                <a:lnTo>
                  <a:pt x="58774" y="1410526"/>
                </a:lnTo>
                <a:lnTo>
                  <a:pt x="88894" y="1440646"/>
                </a:lnTo>
                <a:lnTo>
                  <a:pt x="123773" y="1465302"/>
                </a:lnTo>
                <a:lnTo>
                  <a:pt x="162705" y="1483786"/>
                </a:lnTo>
                <a:lnTo>
                  <a:pt x="204985" y="1495395"/>
                </a:lnTo>
                <a:lnTo>
                  <a:pt x="249906" y="1499421"/>
                </a:lnTo>
                <a:lnTo>
                  <a:pt x="3287247" y="1499421"/>
                </a:lnTo>
                <a:lnTo>
                  <a:pt x="3332168" y="1495395"/>
                </a:lnTo>
                <a:lnTo>
                  <a:pt x="3374448" y="1483786"/>
                </a:lnTo>
                <a:lnTo>
                  <a:pt x="3413380" y="1465302"/>
                </a:lnTo>
                <a:lnTo>
                  <a:pt x="3448259" y="1440646"/>
                </a:lnTo>
                <a:lnTo>
                  <a:pt x="3478379" y="1410526"/>
                </a:lnTo>
                <a:lnTo>
                  <a:pt x="3503034" y="1375647"/>
                </a:lnTo>
                <a:lnTo>
                  <a:pt x="3521519" y="1336715"/>
                </a:lnTo>
                <a:lnTo>
                  <a:pt x="3533128" y="1294435"/>
                </a:lnTo>
                <a:lnTo>
                  <a:pt x="3537154" y="1249518"/>
                </a:lnTo>
                <a:lnTo>
                  <a:pt x="3537154" y="249906"/>
                </a:lnTo>
                <a:lnTo>
                  <a:pt x="3533128" y="204985"/>
                </a:lnTo>
                <a:lnTo>
                  <a:pt x="3521519" y="162706"/>
                </a:lnTo>
                <a:lnTo>
                  <a:pt x="3503034" y="123774"/>
                </a:lnTo>
                <a:lnTo>
                  <a:pt x="3478379" y="88894"/>
                </a:lnTo>
                <a:lnTo>
                  <a:pt x="3448259" y="58774"/>
                </a:lnTo>
                <a:lnTo>
                  <a:pt x="3413380" y="34119"/>
                </a:lnTo>
                <a:lnTo>
                  <a:pt x="3374448" y="15634"/>
                </a:lnTo>
                <a:lnTo>
                  <a:pt x="3332168" y="4026"/>
                </a:lnTo>
                <a:lnTo>
                  <a:pt x="3287247" y="0"/>
                </a:lnTo>
                <a:close/>
              </a:path>
            </a:pathLst>
          </a:custGeom>
          <a:solidFill>
            <a:srgbClr val="DEEBF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915341" y="3832860"/>
            <a:ext cx="3207385" cy="152209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065" marR="5080" indent="1270" algn="ctr">
              <a:lnSpc>
                <a:spcPct val="100200"/>
              </a:lnSpc>
              <a:spcBef>
                <a:spcPts val="95"/>
              </a:spcBef>
            </a:pPr>
            <a:r>
              <a:rPr sz="1400" i="1">
                <a:latin typeface="Calibri"/>
                <a:cs typeface="Calibri"/>
              </a:rPr>
              <a:t>As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a</a:t>
            </a:r>
            <a:r>
              <a:rPr sz="1400" i="1" spc="-1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first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time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mom,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I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am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very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 spc="-10">
                <a:latin typeface="Calibri"/>
                <a:cs typeface="Calibri"/>
              </a:rPr>
              <a:t>concerned </a:t>
            </a:r>
            <a:r>
              <a:rPr sz="1400" i="1">
                <a:latin typeface="Calibri"/>
                <a:cs typeface="Calibri"/>
              </a:rPr>
              <a:t>with</a:t>
            </a:r>
            <a:r>
              <a:rPr sz="1400" i="1" spc="-45">
                <a:latin typeface="Calibri"/>
                <a:cs typeface="Calibri"/>
              </a:rPr>
              <a:t> </a:t>
            </a:r>
            <a:r>
              <a:rPr sz="1400" i="1" spc="-10">
                <a:latin typeface="Calibri"/>
                <a:cs typeface="Calibri"/>
              </a:rPr>
              <a:t>keeping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my</a:t>
            </a:r>
            <a:r>
              <a:rPr sz="1400" i="1" spc="-4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child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safe.</a:t>
            </a:r>
            <a:r>
              <a:rPr sz="1400" i="1" spc="-40">
                <a:latin typeface="Calibri"/>
                <a:cs typeface="Calibri"/>
              </a:rPr>
              <a:t> </a:t>
            </a:r>
            <a:r>
              <a:rPr sz="1400" b="1" i="1" spc="-50">
                <a:latin typeface="Calibri"/>
                <a:cs typeface="Calibri"/>
              </a:rPr>
              <a:t>To</a:t>
            </a:r>
            <a:r>
              <a:rPr sz="1400" b="1" i="1" spc="-3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realize</a:t>
            </a:r>
            <a:r>
              <a:rPr sz="1400" b="1" i="1" spc="-40">
                <a:latin typeface="Calibri"/>
                <a:cs typeface="Calibri"/>
              </a:rPr>
              <a:t> </a:t>
            </a:r>
            <a:r>
              <a:rPr sz="1400" b="1" i="1" spc="-20">
                <a:latin typeface="Calibri"/>
                <a:cs typeface="Calibri"/>
              </a:rPr>
              <a:t>that </a:t>
            </a:r>
            <a:r>
              <a:rPr sz="1400" b="1" i="1">
                <a:latin typeface="Calibri"/>
                <a:cs typeface="Calibri"/>
              </a:rPr>
              <a:t>black</a:t>
            </a:r>
            <a:r>
              <a:rPr sz="1400" b="1" i="1" spc="-3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infants</a:t>
            </a:r>
            <a:r>
              <a:rPr sz="1400" b="1" i="1" spc="-35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have</a:t>
            </a:r>
            <a:r>
              <a:rPr sz="1400" b="1" i="1" spc="-35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a</a:t>
            </a:r>
            <a:r>
              <a:rPr sz="1400" b="1" i="1" spc="-3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higher</a:t>
            </a:r>
            <a:r>
              <a:rPr sz="1400" b="1" i="1" spc="-4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rate</a:t>
            </a:r>
            <a:r>
              <a:rPr sz="1400" b="1" i="1" spc="-35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of</a:t>
            </a:r>
            <a:r>
              <a:rPr sz="1400" b="1" i="1" spc="-3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dying</a:t>
            </a:r>
            <a:r>
              <a:rPr sz="1400" b="1" i="1" spc="-35">
                <a:latin typeface="Calibri"/>
                <a:cs typeface="Calibri"/>
              </a:rPr>
              <a:t> </a:t>
            </a:r>
            <a:r>
              <a:rPr sz="1400" b="1" i="1" spc="-25">
                <a:latin typeface="Calibri"/>
                <a:cs typeface="Calibri"/>
              </a:rPr>
              <a:t>by </a:t>
            </a:r>
            <a:r>
              <a:rPr sz="1400" b="1" i="1">
                <a:latin typeface="Calibri"/>
                <a:cs typeface="Calibri"/>
              </a:rPr>
              <a:t>sleeping</a:t>
            </a:r>
            <a:r>
              <a:rPr sz="1400" b="1" i="1" spc="-35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with</a:t>
            </a:r>
            <a:r>
              <a:rPr sz="1400" b="1" i="1" spc="-3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adults</a:t>
            </a:r>
            <a:r>
              <a:rPr sz="1400" b="1" i="1" spc="-3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is</a:t>
            </a:r>
            <a:r>
              <a:rPr sz="1400" b="1" i="1" spc="-3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eye</a:t>
            </a:r>
            <a:r>
              <a:rPr sz="1400" b="1" i="1" spc="-25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opening</a:t>
            </a:r>
            <a:r>
              <a:rPr sz="1400" i="1">
                <a:latin typeface="Calibri"/>
                <a:cs typeface="Calibri"/>
              </a:rPr>
              <a:t>.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 spc="-20">
                <a:latin typeface="Calibri"/>
                <a:cs typeface="Calibri"/>
              </a:rPr>
              <a:t>This</a:t>
            </a:r>
            <a:r>
              <a:rPr sz="1400" i="1">
                <a:latin typeface="Calibri"/>
                <a:cs typeface="Calibri"/>
              </a:rPr>
              <a:t> has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opened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my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eyes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to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how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 spc="-10">
                <a:latin typeface="Calibri"/>
                <a:cs typeface="Calibri"/>
              </a:rPr>
              <a:t>important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it</a:t>
            </a:r>
            <a:r>
              <a:rPr sz="1400" i="1" spc="-25">
                <a:latin typeface="Calibri"/>
                <a:cs typeface="Calibri"/>
              </a:rPr>
              <a:t> is</a:t>
            </a:r>
            <a:r>
              <a:rPr sz="1400" i="1" spc="50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to</a:t>
            </a:r>
            <a:r>
              <a:rPr sz="1400" i="1" spc="-4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have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my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child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sleep</a:t>
            </a:r>
            <a:r>
              <a:rPr sz="1400" i="1" spc="-2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in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her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own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bed</a:t>
            </a:r>
            <a:r>
              <a:rPr sz="1400" i="1" spc="-20">
                <a:latin typeface="Calibri"/>
                <a:cs typeface="Calibri"/>
              </a:rPr>
              <a:t> when </a:t>
            </a:r>
            <a:r>
              <a:rPr sz="1400" i="1">
                <a:latin typeface="Calibri"/>
                <a:cs typeface="Calibri"/>
              </a:rPr>
              <a:t>she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 spc="-10">
                <a:latin typeface="Calibri"/>
                <a:cs typeface="Calibri"/>
              </a:rPr>
              <a:t>arrives.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4009468" y="5089174"/>
            <a:ext cx="3537585" cy="1682114"/>
          </a:xfrm>
          <a:custGeom>
            <a:avLst/>
            <a:gdLst/>
            <a:ahLst/>
            <a:cxnLst/>
            <a:rect l="l" t="t" r="r" b="b"/>
            <a:pathLst>
              <a:path w="3537584" h="1682115">
                <a:moveTo>
                  <a:pt x="1473813" y="1494665"/>
                </a:moveTo>
                <a:lnTo>
                  <a:pt x="589525" y="1494665"/>
                </a:lnTo>
                <a:lnTo>
                  <a:pt x="1031680" y="1681499"/>
                </a:lnTo>
                <a:lnTo>
                  <a:pt x="1473813" y="1494665"/>
                </a:lnTo>
                <a:close/>
              </a:path>
              <a:path w="3537584" h="1682115">
                <a:moveTo>
                  <a:pt x="3288035" y="0"/>
                </a:moveTo>
                <a:lnTo>
                  <a:pt x="249116" y="0"/>
                </a:lnTo>
                <a:lnTo>
                  <a:pt x="204337" y="4013"/>
                </a:lnTo>
                <a:lnTo>
                  <a:pt x="162192" y="15585"/>
                </a:lnTo>
                <a:lnTo>
                  <a:pt x="123383" y="34011"/>
                </a:lnTo>
                <a:lnTo>
                  <a:pt x="88614" y="58589"/>
                </a:lnTo>
                <a:lnTo>
                  <a:pt x="58589" y="88614"/>
                </a:lnTo>
                <a:lnTo>
                  <a:pt x="34011" y="123383"/>
                </a:lnTo>
                <a:lnTo>
                  <a:pt x="15585" y="162192"/>
                </a:lnTo>
                <a:lnTo>
                  <a:pt x="4013" y="204338"/>
                </a:lnTo>
                <a:lnTo>
                  <a:pt x="0" y="249118"/>
                </a:lnTo>
                <a:lnTo>
                  <a:pt x="0" y="1245555"/>
                </a:lnTo>
                <a:lnTo>
                  <a:pt x="4013" y="1290327"/>
                </a:lnTo>
                <a:lnTo>
                  <a:pt x="15585" y="1332473"/>
                </a:lnTo>
                <a:lnTo>
                  <a:pt x="34011" y="1371282"/>
                </a:lnTo>
                <a:lnTo>
                  <a:pt x="58589" y="1406051"/>
                </a:lnTo>
                <a:lnTo>
                  <a:pt x="88614" y="1436076"/>
                </a:lnTo>
                <a:lnTo>
                  <a:pt x="123383" y="1460653"/>
                </a:lnTo>
                <a:lnTo>
                  <a:pt x="162192" y="1479080"/>
                </a:lnTo>
                <a:lnTo>
                  <a:pt x="204337" y="1490651"/>
                </a:lnTo>
                <a:lnTo>
                  <a:pt x="249116" y="1494665"/>
                </a:lnTo>
                <a:lnTo>
                  <a:pt x="3288035" y="1494665"/>
                </a:lnTo>
                <a:lnTo>
                  <a:pt x="3332814" y="1490651"/>
                </a:lnTo>
                <a:lnTo>
                  <a:pt x="3374959" y="1479080"/>
                </a:lnTo>
                <a:lnTo>
                  <a:pt x="3413768" y="1460653"/>
                </a:lnTo>
                <a:lnTo>
                  <a:pt x="3448537" y="1436076"/>
                </a:lnTo>
                <a:lnTo>
                  <a:pt x="3478562" y="1406051"/>
                </a:lnTo>
                <a:lnTo>
                  <a:pt x="3503140" y="1371282"/>
                </a:lnTo>
                <a:lnTo>
                  <a:pt x="3521566" y="1332473"/>
                </a:lnTo>
                <a:lnTo>
                  <a:pt x="3533138" y="1290327"/>
                </a:lnTo>
                <a:lnTo>
                  <a:pt x="3537151" y="1245555"/>
                </a:lnTo>
                <a:lnTo>
                  <a:pt x="3537151" y="249118"/>
                </a:lnTo>
                <a:lnTo>
                  <a:pt x="3533138" y="204338"/>
                </a:lnTo>
                <a:lnTo>
                  <a:pt x="3521566" y="162192"/>
                </a:lnTo>
                <a:lnTo>
                  <a:pt x="3503140" y="123383"/>
                </a:lnTo>
                <a:lnTo>
                  <a:pt x="3478562" y="88614"/>
                </a:lnTo>
                <a:lnTo>
                  <a:pt x="3448537" y="58589"/>
                </a:lnTo>
                <a:lnTo>
                  <a:pt x="3413768" y="34011"/>
                </a:lnTo>
                <a:lnTo>
                  <a:pt x="3374959" y="15585"/>
                </a:lnTo>
                <a:lnTo>
                  <a:pt x="3332814" y="4013"/>
                </a:lnTo>
                <a:lnTo>
                  <a:pt x="3288035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4184289" y="5200396"/>
            <a:ext cx="3188335" cy="124777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-635" algn="ctr">
              <a:lnSpc>
                <a:spcPct val="100299"/>
              </a:lnSpc>
              <a:spcBef>
                <a:spcPts val="95"/>
              </a:spcBef>
            </a:pPr>
            <a:r>
              <a:rPr sz="1600" i="1">
                <a:latin typeface="Calibri"/>
                <a:cs typeface="Calibri"/>
              </a:rPr>
              <a:t>This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video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is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very</a:t>
            </a:r>
            <a:r>
              <a:rPr sz="1600" i="1" spc="-3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informative,</a:t>
            </a:r>
            <a:r>
              <a:rPr sz="1600" i="1" spc="-25">
                <a:latin typeface="Calibri"/>
                <a:cs typeface="Calibri"/>
              </a:rPr>
              <a:t> </a:t>
            </a:r>
            <a:r>
              <a:rPr sz="1600" i="1" spc="-10">
                <a:latin typeface="Calibri"/>
                <a:cs typeface="Calibri"/>
              </a:rPr>
              <a:t>growing </a:t>
            </a:r>
            <a:r>
              <a:rPr sz="1600" i="1">
                <a:latin typeface="Calibri"/>
                <a:cs typeface="Calibri"/>
              </a:rPr>
              <a:t>up</a:t>
            </a:r>
            <a:r>
              <a:rPr sz="1600" i="1" spc="-3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babies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slept</a:t>
            </a:r>
            <a:r>
              <a:rPr sz="1600" i="1" spc="-3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with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family</a:t>
            </a:r>
            <a:r>
              <a:rPr sz="1600" i="1" spc="-3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members,</a:t>
            </a:r>
            <a:r>
              <a:rPr sz="1600" i="1" spc="-35">
                <a:latin typeface="Calibri"/>
                <a:cs typeface="Calibri"/>
              </a:rPr>
              <a:t> </a:t>
            </a:r>
            <a:r>
              <a:rPr sz="1600" b="1" i="1" spc="-50">
                <a:latin typeface="Calibri"/>
                <a:cs typeface="Calibri"/>
              </a:rPr>
              <a:t>I </a:t>
            </a:r>
            <a:r>
              <a:rPr sz="1600" b="1" i="1">
                <a:latin typeface="Calibri"/>
                <a:cs typeface="Calibri"/>
              </a:rPr>
              <a:t>wanna</a:t>
            </a:r>
            <a:r>
              <a:rPr sz="1600" b="1" i="1" spc="-25">
                <a:latin typeface="Calibri"/>
                <a:cs typeface="Calibri"/>
              </a:rPr>
              <a:t> </a:t>
            </a:r>
            <a:r>
              <a:rPr sz="1600" b="1" i="1">
                <a:latin typeface="Calibri"/>
                <a:cs typeface="Calibri"/>
              </a:rPr>
              <a:t>break</a:t>
            </a:r>
            <a:r>
              <a:rPr sz="1600" b="1" i="1" spc="-35">
                <a:latin typeface="Calibri"/>
                <a:cs typeface="Calibri"/>
              </a:rPr>
              <a:t> </a:t>
            </a:r>
            <a:r>
              <a:rPr sz="1600" b="1" i="1">
                <a:latin typeface="Calibri"/>
                <a:cs typeface="Calibri"/>
              </a:rPr>
              <a:t>that</a:t>
            </a:r>
            <a:r>
              <a:rPr sz="1600" b="1" i="1" spc="-30">
                <a:latin typeface="Calibri"/>
                <a:cs typeface="Calibri"/>
              </a:rPr>
              <a:t> </a:t>
            </a:r>
            <a:r>
              <a:rPr sz="1600" b="1" i="1">
                <a:latin typeface="Calibri"/>
                <a:cs typeface="Calibri"/>
              </a:rPr>
              <a:t>cycle</a:t>
            </a:r>
            <a:r>
              <a:rPr sz="1600" i="1">
                <a:latin typeface="Calibri"/>
                <a:cs typeface="Calibri"/>
              </a:rPr>
              <a:t>,</a:t>
            </a:r>
            <a:r>
              <a:rPr sz="1600" i="1" spc="-2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I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want</a:t>
            </a:r>
            <a:r>
              <a:rPr sz="1600" i="1" spc="-25">
                <a:latin typeface="Calibri"/>
                <a:cs typeface="Calibri"/>
              </a:rPr>
              <a:t> my </a:t>
            </a:r>
            <a:r>
              <a:rPr sz="1600" i="1">
                <a:latin typeface="Calibri"/>
                <a:cs typeface="Calibri"/>
              </a:rPr>
              <a:t>baby</a:t>
            </a:r>
            <a:r>
              <a:rPr sz="1600" i="1" spc="-3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to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have</a:t>
            </a:r>
            <a:r>
              <a:rPr sz="1600" i="1" spc="-3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a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baby</a:t>
            </a:r>
            <a:r>
              <a:rPr sz="1600" i="1" spc="-3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bed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for</a:t>
            </a:r>
            <a:r>
              <a:rPr sz="1600" i="1" spc="-35">
                <a:latin typeface="Calibri"/>
                <a:cs typeface="Calibri"/>
              </a:rPr>
              <a:t> </a:t>
            </a:r>
            <a:r>
              <a:rPr sz="1600" b="1" i="1" spc="-10">
                <a:latin typeface="Calibri"/>
                <a:cs typeface="Calibri"/>
              </a:rPr>
              <a:t>safety </a:t>
            </a:r>
            <a:r>
              <a:rPr sz="1600" b="1" i="1">
                <a:latin typeface="Calibri"/>
                <a:cs typeface="Calibri"/>
              </a:rPr>
              <a:t>most</a:t>
            </a:r>
            <a:r>
              <a:rPr sz="1600" b="1" i="1" spc="-35">
                <a:latin typeface="Calibri"/>
                <a:cs typeface="Calibri"/>
              </a:rPr>
              <a:t> </a:t>
            </a:r>
            <a:r>
              <a:rPr sz="1600" b="1" i="1">
                <a:latin typeface="Calibri"/>
                <a:cs typeface="Calibri"/>
              </a:rPr>
              <a:t>of</a:t>
            </a:r>
            <a:r>
              <a:rPr sz="1600" b="1" i="1" spc="-25">
                <a:latin typeface="Calibri"/>
                <a:cs typeface="Calibri"/>
              </a:rPr>
              <a:t> all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74302" y="541122"/>
            <a:ext cx="3537585" cy="1682114"/>
          </a:xfrm>
          <a:custGeom>
            <a:avLst/>
            <a:gdLst/>
            <a:ahLst/>
            <a:cxnLst/>
            <a:rect l="l" t="t" r="r" b="b"/>
            <a:pathLst>
              <a:path w="3537585" h="1682114">
                <a:moveTo>
                  <a:pt x="1473814" y="1494665"/>
                </a:moveTo>
                <a:lnTo>
                  <a:pt x="589525" y="1494665"/>
                </a:lnTo>
                <a:lnTo>
                  <a:pt x="1031681" y="1681499"/>
                </a:lnTo>
                <a:lnTo>
                  <a:pt x="1473814" y="1494665"/>
                </a:lnTo>
                <a:close/>
              </a:path>
              <a:path w="3537585" h="1682114">
                <a:moveTo>
                  <a:pt x="3288037" y="0"/>
                </a:moveTo>
                <a:lnTo>
                  <a:pt x="249117" y="0"/>
                </a:lnTo>
                <a:lnTo>
                  <a:pt x="204338" y="4013"/>
                </a:lnTo>
                <a:lnTo>
                  <a:pt x="162192" y="15585"/>
                </a:lnTo>
                <a:lnTo>
                  <a:pt x="123382" y="34011"/>
                </a:lnTo>
                <a:lnTo>
                  <a:pt x="88614" y="58589"/>
                </a:lnTo>
                <a:lnTo>
                  <a:pt x="58589" y="88614"/>
                </a:lnTo>
                <a:lnTo>
                  <a:pt x="34011" y="123383"/>
                </a:lnTo>
                <a:lnTo>
                  <a:pt x="15585" y="162192"/>
                </a:lnTo>
                <a:lnTo>
                  <a:pt x="4013" y="204337"/>
                </a:lnTo>
                <a:lnTo>
                  <a:pt x="0" y="249116"/>
                </a:lnTo>
                <a:lnTo>
                  <a:pt x="0" y="1245555"/>
                </a:lnTo>
                <a:lnTo>
                  <a:pt x="4013" y="1290326"/>
                </a:lnTo>
                <a:lnTo>
                  <a:pt x="15585" y="1332472"/>
                </a:lnTo>
                <a:lnTo>
                  <a:pt x="34011" y="1371282"/>
                </a:lnTo>
                <a:lnTo>
                  <a:pt x="58589" y="1406051"/>
                </a:lnTo>
                <a:lnTo>
                  <a:pt x="88614" y="1436076"/>
                </a:lnTo>
                <a:lnTo>
                  <a:pt x="123382" y="1460653"/>
                </a:lnTo>
                <a:lnTo>
                  <a:pt x="162192" y="1479080"/>
                </a:lnTo>
                <a:lnTo>
                  <a:pt x="204338" y="1490651"/>
                </a:lnTo>
                <a:lnTo>
                  <a:pt x="249117" y="1494665"/>
                </a:lnTo>
                <a:lnTo>
                  <a:pt x="3288037" y="1494665"/>
                </a:lnTo>
                <a:lnTo>
                  <a:pt x="3332816" y="1490651"/>
                </a:lnTo>
                <a:lnTo>
                  <a:pt x="3374962" y="1479080"/>
                </a:lnTo>
                <a:lnTo>
                  <a:pt x="3413771" y="1460653"/>
                </a:lnTo>
                <a:lnTo>
                  <a:pt x="3448540" y="1436076"/>
                </a:lnTo>
                <a:lnTo>
                  <a:pt x="3478565" y="1406051"/>
                </a:lnTo>
                <a:lnTo>
                  <a:pt x="3503143" y="1371282"/>
                </a:lnTo>
                <a:lnTo>
                  <a:pt x="3521569" y="1332472"/>
                </a:lnTo>
                <a:lnTo>
                  <a:pt x="3533141" y="1290326"/>
                </a:lnTo>
                <a:lnTo>
                  <a:pt x="3537154" y="1245555"/>
                </a:lnTo>
                <a:lnTo>
                  <a:pt x="3537155" y="249116"/>
                </a:lnTo>
                <a:lnTo>
                  <a:pt x="3533141" y="204337"/>
                </a:lnTo>
                <a:lnTo>
                  <a:pt x="3521569" y="162192"/>
                </a:lnTo>
                <a:lnTo>
                  <a:pt x="3503143" y="123383"/>
                </a:lnTo>
                <a:lnTo>
                  <a:pt x="3478565" y="88614"/>
                </a:lnTo>
                <a:lnTo>
                  <a:pt x="3448540" y="58589"/>
                </a:lnTo>
                <a:lnTo>
                  <a:pt x="3413771" y="34011"/>
                </a:lnTo>
                <a:lnTo>
                  <a:pt x="3374962" y="15585"/>
                </a:lnTo>
                <a:lnTo>
                  <a:pt x="3332816" y="4013"/>
                </a:lnTo>
                <a:lnTo>
                  <a:pt x="3288037" y="0"/>
                </a:lnTo>
                <a:close/>
              </a:path>
            </a:pathLst>
          </a:custGeom>
          <a:solidFill>
            <a:srgbClr val="E2F0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282177" y="774700"/>
            <a:ext cx="3119755" cy="1007110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2700" marR="5080" indent="3810" algn="ctr">
              <a:lnSpc>
                <a:spcPct val="100800"/>
              </a:lnSpc>
              <a:spcBef>
                <a:spcPts val="85"/>
              </a:spcBef>
            </a:pPr>
            <a:r>
              <a:rPr sz="1600" i="1">
                <a:latin typeface="Calibri"/>
                <a:cs typeface="Calibri"/>
              </a:rPr>
              <a:t>I</a:t>
            </a:r>
            <a:r>
              <a:rPr sz="1600" i="1" spc="-3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thought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it</a:t>
            </a:r>
            <a:r>
              <a:rPr sz="1600" i="1" spc="-2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was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very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informative.</a:t>
            </a:r>
            <a:r>
              <a:rPr sz="1600" i="1" spc="-35">
                <a:latin typeface="Calibri"/>
                <a:cs typeface="Calibri"/>
              </a:rPr>
              <a:t> </a:t>
            </a:r>
            <a:r>
              <a:rPr sz="1600" i="1" spc="-50">
                <a:latin typeface="Calibri"/>
                <a:cs typeface="Calibri"/>
              </a:rPr>
              <a:t>I </a:t>
            </a:r>
            <a:r>
              <a:rPr sz="1600" b="1" i="1">
                <a:latin typeface="Calibri"/>
                <a:cs typeface="Calibri"/>
              </a:rPr>
              <a:t>didn't</a:t>
            </a:r>
            <a:r>
              <a:rPr sz="1600" b="1" i="1" spc="-35">
                <a:latin typeface="Calibri"/>
                <a:cs typeface="Calibri"/>
              </a:rPr>
              <a:t> </a:t>
            </a:r>
            <a:r>
              <a:rPr sz="1600" b="1" i="1">
                <a:latin typeface="Calibri"/>
                <a:cs typeface="Calibri"/>
              </a:rPr>
              <a:t>know</a:t>
            </a:r>
            <a:r>
              <a:rPr sz="1600" b="1" i="1" spc="-30">
                <a:latin typeface="Calibri"/>
                <a:cs typeface="Calibri"/>
              </a:rPr>
              <a:t> </a:t>
            </a:r>
            <a:r>
              <a:rPr sz="1600" b="1" i="1">
                <a:latin typeface="Calibri"/>
                <a:cs typeface="Calibri"/>
              </a:rPr>
              <a:t>this</a:t>
            </a:r>
            <a:r>
              <a:rPr sz="1600" b="1" i="1" spc="-35">
                <a:latin typeface="Calibri"/>
                <a:cs typeface="Calibri"/>
              </a:rPr>
              <a:t> </a:t>
            </a:r>
            <a:r>
              <a:rPr sz="1600" b="1" i="1">
                <a:latin typeface="Calibri"/>
                <a:cs typeface="Calibri"/>
              </a:rPr>
              <a:t>was</a:t>
            </a:r>
            <a:r>
              <a:rPr sz="1600" b="1" i="1" spc="-35">
                <a:latin typeface="Calibri"/>
                <a:cs typeface="Calibri"/>
              </a:rPr>
              <a:t> </a:t>
            </a:r>
            <a:r>
              <a:rPr sz="1600" b="1" i="1">
                <a:latin typeface="Calibri"/>
                <a:cs typeface="Calibri"/>
              </a:rPr>
              <a:t>common</a:t>
            </a:r>
            <a:r>
              <a:rPr sz="1600" b="1" i="1" spc="-25">
                <a:latin typeface="Calibri"/>
                <a:cs typeface="Calibri"/>
              </a:rPr>
              <a:t> </a:t>
            </a:r>
            <a:r>
              <a:rPr sz="1600" b="1" i="1" spc="-10">
                <a:latin typeface="Calibri"/>
                <a:cs typeface="Calibri"/>
              </a:rPr>
              <a:t>within </a:t>
            </a:r>
            <a:r>
              <a:rPr sz="1600" b="1" i="1">
                <a:latin typeface="Calibri"/>
                <a:cs typeface="Calibri"/>
              </a:rPr>
              <a:t>our</a:t>
            </a:r>
            <a:r>
              <a:rPr sz="1600" b="1" i="1" spc="-60">
                <a:latin typeface="Calibri"/>
                <a:cs typeface="Calibri"/>
              </a:rPr>
              <a:t> </a:t>
            </a:r>
            <a:r>
              <a:rPr sz="1600" b="1" i="1">
                <a:latin typeface="Calibri"/>
                <a:cs typeface="Calibri"/>
              </a:rPr>
              <a:t>community</a:t>
            </a:r>
            <a:r>
              <a:rPr sz="1600" b="1" i="1" spc="-5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amongst</a:t>
            </a:r>
            <a:r>
              <a:rPr sz="1600" i="1" spc="-55">
                <a:latin typeface="Calibri"/>
                <a:cs typeface="Calibri"/>
              </a:rPr>
              <a:t> </a:t>
            </a:r>
            <a:r>
              <a:rPr sz="1600" i="1" spc="-25">
                <a:latin typeface="Calibri"/>
                <a:cs typeface="Calibri"/>
              </a:rPr>
              <a:t>my </a:t>
            </a:r>
            <a:r>
              <a:rPr sz="1600" i="1" spc="-10">
                <a:latin typeface="Calibri"/>
                <a:cs typeface="Calibri"/>
              </a:rPr>
              <a:t>demographic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8714606" y="1974470"/>
            <a:ext cx="3141980" cy="1682114"/>
          </a:xfrm>
          <a:custGeom>
            <a:avLst/>
            <a:gdLst/>
            <a:ahLst/>
            <a:cxnLst/>
            <a:rect l="l" t="t" r="r" b="b"/>
            <a:pathLst>
              <a:path w="3141979" h="1682114">
                <a:moveTo>
                  <a:pt x="1308919" y="1494665"/>
                </a:moveTo>
                <a:lnTo>
                  <a:pt x="523567" y="1494665"/>
                </a:lnTo>
                <a:lnTo>
                  <a:pt x="916252" y="1681497"/>
                </a:lnTo>
                <a:lnTo>
                  <a:pt x="1308919" y="1494665"/>
                </a:lnTo>
                <a:close/>
              </a:path>
              <a:path w="3141979" h="1682114">
                <a:moveTo>
                  <a:pt x="2892291" y="0"/>
                </a:moveTo>
                <a:lnTo>
                  <a:pt x="249113" y="0"/>
                </a:lnTo>
                <a:lnTo>
                  <a:pt x="204334" y="4013"/>
                </a:lnTo>
                <a:lnTo>
                  <a:pt x="162189" y="15585"/>
                </a:lnTo>
                <a:lnTo>
                  <a:pt x="123380" y="34011"/>
                </a:lnTo>
                <a:lnTo>
                  <a:pt x="88612" y="58588"/>
                </a:lnTo>
                <a:lnTo>
                  <a:pt x="58588" y="88613"/>
                </a:lnTo>
                <a:lnTo>
                  <a:pt x="34011" y="123381"/>
                </a:lnTo>
                <a:lnTo>
                  <a:pt x="15585" y="162190"/>
                </a:lnTo>
                <a:lnTo>
                  <a:pt x="4013" y="204335"/>
                </a:lnTo>
                <a:lnTo>
                  <a:pt x="0" y="249114"/>
                </a:lnTo>
                <a:lnTo>
                  <a:pt x="0" y="1245555"/>
                </a:lnTo>
                <a:lnTo>
                  <a:pt x="4013" y="1290329"/>
                </a:lnTo>
                <a:lnTo>
                  <a:pt x="15585" y="1332475"/>
                </a:lnTo>
                <a:lnTo>
                  <a:pt x="34011" y="1371283"/>
                </a:lnTo>
                <a:lnTo>
                  <a:pt x="58588" y="1406052"/>
                </a:lnTo>
                <a:lnTo>
                  <a:pt x="88612" y="1436076"/>
                </a:lnTo>
                <a:lnTo>
                  <a:pt x="123380" y="1460654"/>
                </a:lnTo>
                <a:lnTo>
                  <a:pt x="162189" y="1479080"/>
                </a:lnTo>
                <a:lnTo>
                  <a:pt x="204334" y="1490651"/>
                </a:lnTo>
                <a:lnTo>
                  <a:pt x="249113" y="1494665"/>
                </a:lnTo>
                <a:lnTo>
                  <a:pt x="2892291" y="1494665"/>
                </a:lnTo>
                <a:lnTo>
                  <a:pt x="2937070" y="1490651"/>
                </a:lnTo>
                <a:lnTo>
                  <a:pt x="2979215" y="1479080"/>
                </a:lnTo>
                <a:lnTo>
                  <a:pt x="3018024" y="1460654"/>
                </a:lnTo>
                <a:lnTo>
                  <a:pt x="3052792" y="1436076"/>
                </a:lnTo>
                <a:lnTo>
                  <a:pt x="3082817" y="1406052"/>
                </a:lnTo>
                <a:lnTo>
                  <a:pt x="3107394" y="1371283"/>
                </a:lnTo>
                <a:lnTo>
                  <a:pt x="3125820" y="1332475"/>
                </a:lnTo>
                <a:lnTo>
                  <a:pt x="3137392" y="1290329"/>
                </a:lnTo>
                <a:lnTo>
                  <a:pt x="3141405" y="1245555"/>
                </a:lnTo>
                <a:lnTo>
                  <a:pt x="3141405" y="249114"/>
                </a:lnTo>
                <a:lnTo>
                  <a:pt x="3137392" y="204335"/>
                </a:lnTo>
                <a:lnTo>
                  <a:pt x="3125820" y="162190"/>
                </a:lnTo>
                <a:lnTo>
                  <a:pt x="3107394" y="123381"/>
                </a:lnTo>
                <a:lnTo>
                  <a:pt x="3082817" y="88613"/>
                </a:lnTo>
                <a:lnTo>
                  <a:pt x="3052792" y="58588"/>
                </a:lnTo>
                <a:lnTo>
                  <a:pt x="3018024" y="34011"/>
                </a:lnTo>
                <a:lnTo>
                  <a:pt x="2979215" y="15585"/>
                </a:lnTo>
                <a:lnTo>
                  <a:pt x="2937070" y="4013"/>
                </a:lnTo>
                <a:lnTo>
                  <a:pt x="2892291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8877354" y="2085340"/>
            <a:ext cx="2816225" cy="124777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1270" algn="ctr">
              <a:lnSpc>
                <a:spcPct val="100299"/>
              </a:lnSpc>
              <a:spcBef>
                <a:spcPts val="95"/>
              </a:spcBef>
            </a:pPr>
            <a:r>
              <a:rPr sz="1600" i="1">
                <a:latin typeface="Calibri"/>
                <a:cs typeface="Calibri"/>
              </a:rPr>
              <a:t>I</a:t>
            </a:r>
            <a:r>
              <a:rPr sz="1600" i="1" spc="-3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feel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that’s</a:t>
            </a:r>
            <a:r>
              <a:rPr sz="1600" i="1" spc="-2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good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to</a:t>
            </a:r>
            <a:r>
              <a:rPr sz="1600" i="1" spc="-2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know</a:t>
            </a:r>
            <a:r>
              <a:rPr sz="1600" i="1" spc="-2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I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am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 spc="-50">
                <a:latin typeface="Calibri"/>
                <a:cs typeface="Calibri"/>
              </a:rPr>
              <a:t>a </a:t>
            </a:r>
            <a:r>
              <a:rPr sz="1600" i="1">
                <a:latin typeface="Calibri"/>
                <a:cs typeface="Calibri"/>
              </a:rPr>
              <a:t>new</a:t>
            </a:r>
            <a:r>
              <a:rPr sz="1600" i="1" spc="-4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mother</a:t>
            </a:r>
            <a:r>
              <a:rPr sz="1600" i="1" spc="-4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and</a:t>
            </a:r>
            <a:r>
              <a:rPr sz="1600" i="1" spc="-4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that’s</a:t>
            </a:r>
            <a:r>
              <a:rPr sz="1600" i="1" spc="-45">
                <a:latin typeface="Calibri"/>
                <a:cs typeface="Calibri"/>
              </a:rPr>
              <a:t> </a:t>
            </a:r>
            <a:r>
              <a:rPr sz="1600" i="1" spc="-10">
                <a:latin typeface="Calibri"/>
                <a:cs typeface="Calibri"/>
              </a:rPr>
              <a:t>something </a:t>
            </a:r>
            <a:r>
              <a:rPr sz="1600" i="1">
                <a:latin typeface="Calibri"/>
                <a:cs typeface="Calibri"/>
              </a:rPr>
              <a:t>I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needed</a:t>
            </a:r>
            <a:r>
              <a:rPr sz="1600" i="1" spc="-2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to</a:t>
            </a:r>
            <a:r>
              <a:rPr sz="1600" i="1" spc="-20">
                <a:latin typeface="Calibri"/>
                <a:cs typeface="Calibri"/>
              </a:rPr>
              <a:t> </a:t>
            </a:r>
            <a:r>
              <a:rPr sz="1600" i="1" spc="-10">
                <a:latin typeface="Calibri"/>
                <a:cs typeface="Calibri"/>
              </a:rPr>
              <a:t>understand</a:t>
            </a:r>
            <a:r>
              <a:rPr sz="1600" i="1" spc="-2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that</a:t>
            </a:r>
            <a:r>
              <a:rPr sz="1600" i="1" spc="-25">
                <a:latin typeface="Calibri"/>
                <a:cs typeface="Calibri"/>
              </a:rPr>
              <a:t> </a:t>
            </a:r>
            <a:r>
              <a:rPr sz="1600" i="1" spc="-20">
                <a:latin typeface="Calibri"/>
                <a:cs typeface="Calibri"/>
              </a:rPr>
              <a:t>baby </a:t>
            </a:r>
            <a:r>
              <a:rPr sz="1600" i="1">
                <a:latin typeface="Calibri"/>
                <a:cs typeface="Calibri"/>
              </a:rPr>
              <a:t>sleeps</a:t>
            </a:r>
            <a:r>
              <a:rPr sz="1600" i="1" spc="-25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in</a:t>
            </a:r>
            <a:r>
              <a:rPr sz="1600" i="1" spc="-2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own</a:t>
            </a:r>
            <a:r>
              <a:rPr sz="1600" i="1" spc="-2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crib</a:t>
            </a:r>
            <a:r>
              <a:rPr sz="1600" i="1" spc="-20">
                <a:latin typeface="Calibri"/>
                <a:cs typeface="Calibri"/>
              </a:rPr>
              <a:t> </a:t>
            </a:r>
            <a:r>
              <a:rPr sz="1600" b="1" i="1">
                <a:latin typeface="Calibri"/>
                <a:cs typeface="Calibri"/>
              </a:rPr>
              <a:t>I</a:t>
            </a:r>
            <a:r>
              <a:rPr sz="1600" b="1" i="1" spc="-25">
                <a:latin typeface="Calibri"/>
                <a:cs typeface="Calibri"/>
              </a:rPr>
              <a:t> </a:t>
            </a:r>
            <a:r>
              <a:rPr sz="1600" b="1" i="1">
                <a:latin typeface="Calibri"/>
                <a:cs typeface="Calibri"/>
              </a:rPr>
              <a:t>have</a:t>
            </a:r>
            <a:r>
              <a:rPr sz="1600" b="1" i="1" spc="-25">
                <a:latin typeface="Calibri"/>
                <a:cs typeface="Calibri"/>
              </a:rPr>
              <a:t> </a:t>
            </a:r>
            <a:r>
              <a:rPr sz="1600" b="1" i="1">
                <a:latin typeface="Calibri"/>
                <a:cs typeface="Calibri"/>
              </a:rPr>
              <a:t>lost</a:t>
            </a:r>
            <a:r>
              <a:rPr sz="1600" b="1" i="1" spc="-25">
                <a:latin typeface="Calibri"/>
                <a:cs typeface="Calibri"/>
              </a:rPr>
              <a:t> </a:t>
            </a:r>
            <a:r>
              <a:rPr sz="1600" b="1" i="1" spc="-50">
                <a:latin typeface="Calibri"/>
                <a:cs typeface="Calibri"/>
              </a:rPr>
              <a:t>a </a:t>
            </a:r>
            <a:r>
              <a:rPr sz="1600" b="1" i="1">
                <a:latin typeface="Calibri"/>
                <a:cs typeface="Calibri"/>
              </a:rPr>
              <a:t>nephew</a:t>
            </a:r>
            <a:r>
              <a:rPr sz="1600" b="1" i="1" spc="-4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due</a:t>
            </a:r>
            <a:r>
              <a:rPr sz="1600" i="1" spc="-40">
                <a:latin typeface="Calibri"/>
                <a:cs typeface="Calibri"/>
              </a:rPr>
              <a:t> </a:t>
            </a:r>
            <a:r>
              <a:rPr sz="1600" i="1">
                <a:latin typeface="Calibri"/>
                <a:cs typeface="Calibri"/>
              </a:rPr>
              <a:t>to</a:t>
            </a:r>
            <a:r>
              <a:rPr sz="1600" i="1" spc="-30">
                <a:latin typeface="Calibri"/>
                <a:cs typeface="Calibri"/>
              </a:rPr>
              <a:t> </a:t>
            </a:r>
            <a:r>
              <a:rPr sz="1600" i="1" spc="-20">
                <a:latin typeface="Calibri"/>
                <a:cs typeface="Calibri"/>
              </a:rPr>
              <a:t>SIDS</a:t>
            </a:r>
            <a:endParaRPr sz="1600">
              <a:latin typeface="Calibri"/>
              <a:cs typeface="Calibri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373626" y="401034"/>
            <a:ext cx="11768455" cy="6244590"/>
            <a:chOff x="373626" y="401034"/>
            <a:chExt cx="11768455" cy="6244590"/>
          </a:xfrm>
        </p:grpSpPr>
        <p:pic>
          <p:nvPicPr>
            <p:cNvPr id="17" name="object 1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0913498" y="401034"/>
              <a:ext cx="904875" cy="896112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73626" y="5753066"/>
              <a:ext cx="904875" cy="892175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8604719" y="4399936"/>
              <a:ext cx="3537585" cy="1687195"/>
            </a:xfrm>
            <a:custGeom>
              <a:avLst/>
              <a:gdLst/>
              <a:ahLst/>
              <a:cxnLst/>
              <a:rect l="l" t="t" r="r" b="b"/>
              <a:pathLst>
                <a:path w="3537584" h="1687195">
                  <a:moveTo>
                    <a:pt x="1473812" y="1499417"/>
                  </a:moveTo>
                  <a:lnTo>
                    <a:pt x="589525" y="1499417"/>
                  </a:lnTo>
                  <a:lnTo>
                    <a:pt x="1031680" y="1686843"/>
                  </a:lnTo>
                  <a:lnTo>
                    <a:pt x="1473812" y="1499417"/>
                  </a:lnTo>
                  <a:close/>
                </a:path>
                <a:path w="3537584" h="1687195">
                  <a:moveTo>
                    <a:pt x="3287245" y="0"/>
                  </a:moveTo>
                  <a:lnTo>
                    <a:pt x="249905" y="0"/>
                  </a:lnTo>
                  <a:lnTo>
                    <a:pt x="204984" y="4026"/>
                  </a:lnTo>
                  <a:lnTo>
                    <a:pt x="162705" y="15634"/>
                  </a:lnTo>
                  <a:lnTo>
                    <a:pt x="123773" y="34119"/>
                  </a:lnTo>
                  <a:lnTo>
                    <a:pt x="88894" y="58774"/>
                  </a:lnTo>
                  <a:lnTo>
                    <a:pt x="58774" y="88894"/>
                  </a:lnTo>
                  <a:lnTo>
                    <a:pt x="34119" y="123773"/>
                  </a:lnTo>
                  <a:lnTo>
                    <a:pt x="15634" y="162705"/>
                  </a:lnTo>
                  <a:lnTo>
                    <a:pt x="4026" y="204984"/>
                  </a:lnTo>
                  <a:lnTo>
                    <a:pt x="0" y="249905"/>
                  </a:lnTo>
                  <a:lnTo>
                    <a:pt x="0" y="1249515"/>
                  </a:lnTo>
                  <a:lnTo>
                    <a:pt x="4026" y="1294432"/>
                  </a:lnTo>
                  <a:lnTo>
                    <a:pt x="15634" y="1336711"/>
                  </a:lnTo>
                  <a:lnTo>
                    <a:pt x="34119" y="1375643"/>
                  </a:lnTo>
                  <a:lnTo>
                    <a:pt x="58774" y="1410522"/>
                  </a:lnTo>
                  <a:lnTo>
                    <a:pt x="88894" y="1440642"/>
                  </a:lnTo>
                  <a:lnTo>
                    <a:pt x="123773" y="1465297"/>
                  </a:lnTo>
                  <a:lnTo>
                    <a:pt x="162705" y="1483782"/>
                  </a:lnTo>
                  <a:lnTo>
                    <a:pt x="204984" y="1495391"/>
                  </a:lnTo>
                  <a:lnTo>
                    <a:pt x="249905" y="1499417"/>
                  </a:lnTo>
                  <a:lnTo>
                    <a:pt x="3287245" y="1499417"/>
                  </a:lnTo>
                  <a:lnTo>
                    <a:pt x="3332165" y="1495391"/>
                  </a:lnTo>
                  <a:lnTo>
                    <a:pt x="3374445" y="1483782"/>
                  </a:lnTo>
                  <a:lnTo>
                    <a:pt x="3413377" y="1465297"/>
                  </a:lnTo>
                  <a:lnTo>
                    <a:pt x="3448255" y="1440642"/>
                  </a:lnTo>
                  <a:lnTo>
                    <a:pt x="3478375" y="1410522"/>
                  </a:lnTo>
                  <a:lnTo>
                    <a:pt x="3503031" y="1375643"/>
                  </a:lnTo>
                  <a:lnTo>
                    <a:pt x="3521515" y="1336711"/>
                  </a:lnTo>
                  <a:lnTo>
                    <a:pt x="3533124" y="1294432"/>
                  </a:lnTo>
                  <a:lnTo>
                    <a:pt x="3537150" y="1249515"/>
                  </a:lnTo>
                  <a:lnTo>
                    <a:pt x="3537150" y="249905"/>
                  </a:lnTo>
                  <a:lnTo>
                    <a:pt x="3533124" y="204984"/>
                  </a:lnTo>
                  <a:lnTo>
                    <a:pt x="3521515" y="162705"/>
                  </a:lnTo>
                  <a:lnTo>
                    <a:pt x="3503031" y="123773"/>
                  </a:lnTo>
                  <a:lnTo>
                    <a:pt x="3478375" y="88894"/>
                  </a:lnTo>
                  <a:lnTo>
                    <a:pt x="3448255" y="58774"/>
                  </a:lnTo>
                  <a:lnTo>
                    <a:pt x="3413377" y="34119"/>
                  </a:lnTo>
                  <a:lnTo>
                    <a:pt x="3374445" y="15634"/>
                  </a:lnTo>
                  <a:lnTo>
                    <a:pt x="3332165" y="4026"/>
                  </a:lnTo>
                  <a:lnTo>
                    <a:pt x="3287245" y="0"/>
                  </a:lnTo>
                  <a:close/>
                </a:path>
              </a:pathLst>
            </a:custGeom>
            <a:solidFill>
              <a:srgbClr val="E2F0D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20"/>
          <p:cNvSpPr txBox="1"/>
          <p:nvPr/>
        </p:nvSpPr>
        <p:spPr>
          <a:xfrm>
            <a:off x="9225908" y="6138164"/>
            <a:ext cx="1767839" cy="4743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i="1">
                <a:solidFill>
                  <a:srgbClr val="002060"/>
                </a:solidFill>
                <a:latin typeface="Calibri"/>
                <a:cs typeface="Calibri"/>
              </a:rPr>
              <a:t>Parent</a:t>
            </a:r>
            <a:r>
              <a:rPr sz="1800" i="1" spc="-80">
                <a:solidFill>
                  <a:srgbClr val="002060"/>
                </a:solidFill>
                <a:latin typeface="Calibri"/>
                <a:cs typeface="Calibri"/>
              </a:rPr>
              <a:t> </a:t>
            </a:r>
            <a:r>
              <a:rPr sz="1800" i="1" spc="-10">
                <a:solidFill>
                  <a:srgbClr val="002060"/>
                </a:solidFill>
                <a:latin typeface="Calibri"/>
                <a:cs typeface="Calibri"/>
              </a:rPr>
              <a:t>reflections*</a:t>
            </a:r>
            <a:endParaRPr sz="1800">
              <a:latin typeface="Calibri"/>
              <a:cs typeface="Calibri"/>
            </a:endParaRPr>
          </a:p>
          <a:p>
            <a:pPr marL="48260">
              <a:lnSpc>
                <a:spcPct val="100000"/>
              </a:lnSpc>
              <a:spcBef>
                <a:spcPts val="50"/>
              </a:spcBef>
            </a:pPr>
            <a:r>
              <a:rPr sz="1100" i="1">
                <a:solidFill>
                  <a:srgbClr val="002060"/>
                </a:solidFill>
                <a:latin typeface="Calibri"/>
                <a:cs typeface="Calibri"/>
              </a:rPr>
              <a:t>*selected</a:t>
            </a:r>
            <a:r>
              <a:rPr sz="1100" i="1" spc="-30">
                <a:solidFill>
                  <a:srgbClr val="002060"/>
                </a:solidFill>
                <a:latin typeface="Calibri"/>
                <a:cs typeface="Calibri"/>
              </a:rPr>
              <a:t> </a:t>
            </a:r>
            <a:r>
              <a:rPr sz="1100" i="1">
                <a:solidFill>
                  <a:srgbClr val="002060"/>
                </a:solidFill>
                <a:latin typeface="Calibri"/>
                <a:cs typeface="Calibri"/>
              </a:rPr>
              <a:t>from</a:t>
            </a:r>
            <a:r>
              <a:rPr sz="1100" i="1" spc="-20">
                <a:solidFill>
                  <a:srgbClr val="002060"/>
                </a:solidFill>
                <a:latin typeface="Calibri"/>
                <a:cs typeface="Calibri"/>
              </a:rPr>
              <a:t> </a:t>
            </a:r>
            <a:r>
              <a:rPr sz="1100" i="1">
                <a:solidFill>
                  <a:srgbClr val="002060"/>
                </a:solidFill>
                <a:latin typeface="Calibri"/>
                <a:cs typeface="Calibri"/>
              </a:rPr>
              <a:t>170</a:t>
            </a:r>
            <a:r>
              <a:rPr sz="1100" i="1" spc="-20">
                <a:solidFill>
                  <a:srgbClr val="002060"/>
                </a:solidFill>
                <a:latin typeface="Calibri"/>
                <a:cs typeface="Calibri"/>
              </a:rPr>
              <a:t> </a:t>
            </a:r>
            <a:r>
              <a:rPr sz="1100" i="1" spc="-10">
                <a:solidFill>
                  <a:srgbClr val="002060"/>
                </a:solidFill>
                <a:latin typeface="Calibri"/>
                <a:cs typeface="Calibri"/>
              </a:rPr>
              <a:t>responses</a:t>
            </a:r>
            <a:endParaRPr sz="1100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9818927" y="577595"/>
            <a:ext cx="1036955" cy="67183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algn="just">
              <a:lnSpc>
                <a:spcPct val="101400"/>
              </a:lnSpc>
              <a:spcBef>
                <a:spcPts val="75"/>
              </a:spcBef>
            </a:pPr>
            <a:r>
              <a:rPr sz="1400" i="1">
                <a:solidFill>
                  <a:srgbClr val="00B050"/>
                </a:solidFill>
                <a:latin typeface="Calibri"/>
                <a:cs typeface="Calibri"/>
              </a:rPr>
              <a:t>Scan</a:t>
            </a:r>
            <a:r>
              <a:rPr sz="1400" i="1" spc="-30">
                <a:solidFill>
                  <a:srgbClr val="00B050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00B050"/>
                </a:solidFill>
                <a:latin typeface="Calibri"/>
                <a:cs typeface="Calibri"/>
              </a:rPr>
              <a:t>to</a:t>
            </a:r>
            <a:r>
              <a:rPr sz="1400" i="1" spc="-40">
                <a:solidFill>
                  <a:srgbClr val="00B050"/>
                </a:solidFill>
                <a:latin typeface="Calibri"/>
                <a:cs typeface="Calibri"/>
              </a:rPr>
              <a:t> </a:t>
            </a:r>
            <a:r>
              <a:rPr sz="1400" i="1" spc="-10">
                <a:solidFill>
                  <a:srgbClr val="00B050"/>
                </a:solidFill>
                <a:latin typeface="Calibri"/>
                <a:cs typeface="Calibri"/>
              </a:rPr>
              <a:t>watch </a:t>
            </a:r>
            <a:r>
              <a:rPr sz="1400" i="1">
                <a:solidFill>
                  <a:srgbClr val="00B050"/>
                </a:solidFill>
                <a:latin typeface="Calibri"/>
                <a:cs typeface="Calibri"/>
              </a:rPr>
              <a:t>our</a:t>
            </a:r>
            <a:r>
              <a:rPr sz="1400" i="1" spc="-25">
                <a:solidFill>
                  <a:srgbClr val="00B050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00B050"/>
                </a:solidFill>
                <a:latin typeface="Calibri"/>
                <a:cs typeface="Calibri"/>
              </a:rPr>
              <a:t>safe</a:t>
            </a:r>
            <a:r>
              <a:rPr sz="1400" i="1" spc="-30">
                <a:solidFill>
                  <a:srgbClr val="00B050"/>
                </a:solidFill>
                <a:latin typeface="Calibri"/>
                <a:cs typeface="Calibri"/>
              </a:rPr>
              <a:t> </a:t>
            </a:r>
            <a:r>
              <a:rPr sz="1400" i="1" spc="-10">
                <a:solidFill>
                  <a:srgbClr val="00B050"/>
                </a:solidFill>
                <a:latin typeface="Calibri"/>
                <a:cs typeface="Calibri"/>
              </a:rPr>
              <a:t>sleep video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357241" y="5850635"/>
            <a:ext cx="1036955" cy="67183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algn="just">
              <a:lnSpc>
                <a:spcPct val="101400"/>
              </a:lnSpc>
              <a:spcBef>
                <a:spcPts val="75"/>
              </a:spcBef>
            </a:pPr>
            <a:r>
              <a:rPr sz="1400" i="1">
                <a:solidFill>
                  <a:srgbClr val="00B050"/>
                </a:solidFill>
                <a:latin typeface="Calibri"/>
                <a:cs typeface="Calibri"/>
              </a:rPr>
              <a:t>Scan</a:t>
            </a:r>
            <a:r>
              <a:rPr sz="1400" i="1" spc="-30">
                <a:solidFill>
                  <a:srgbClr val="00B050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00B050"/>
                </a:solidFill>
                <a:latin typeface="Calibri"/>
                <a:cs typeface="Calibri"/>
              </a:rPr>
              <a:t>to</a:t>
            </a:r>
            <a:r>
              <a:rPr sz="1400" i="1" spc="-40">
                <a:solidFill>
                  <a:srgbClr val="00B050"/>
                </a:solidFill>
                <a:latin typeface="Calibri"/>
                <a:cs typeface="Calibri"/>
              </a:rPr>
              <a:t> </a:t>
            </a:r>
            <a:r>
              <a:rPr sz="1400" i="1" spc="-10">
                <a:solidFill>
                  <a:srgbClr val="00B050"/>
                </a:solidFill>
                <a:latin typeface="Calibri"/>
                <a:cs typeface="Calibri"/>
              </a:rPr>
              <a:t>watch </a:t>
            </a:r>
            <a:r>
              <a:rPr sz="1400" i="1">
                <a:solidFill>
                  <a:srgbClr val="00B050"/>
                </a:solidFill>
                <a:latin typeface="Calibri"/>
                <a:cs typeface="Calibri"/>
              </a:rPr>
              <a:t>our</a:t>
            </a:r>
            <a:r>
              <a:rPr sz="1400" i="1" spc="-25">
                <a:solidFill>
                  <a:srgbClr val="00B050"/>
                </a:solidFill>
                <a:latin typeface="Calibri"/>
                <a:cs typeface="Calibri"/>
              </a:rPr>
              <a:t> </a:t>
            </a:r>
            <a:r>
              <a:rPr sz="1400" i="1">
                <a:solidFill>
                  <a:srgbClr val="00B050"/>
                </a:solidFill>
                <a:latin typeface="Calibri"/>
                <a:cs typeface="Calibri"/>
              </a:rPr>
              <a:t>safe</a:t>
            </a:r>
            <a:r>
              <a:rPr sz="1400" i="1" spc="-30">
                <a:solidFill>
                  <a:srgbClr val="00B050"/>
                </a:solidFill>
                <a:latin typeface="Calibri"/>
                <a:cs typeface="Calibri"/>
              </a:rPr>
              <a:t> </a:t>
            </a:r>
            <a:r>
              <a:rPr sz="1400" i="1" spc="-10">
                <a:solidFill>
                  <a:srgbClr val="00B050"/>
                </a:solidFill>
                <a:latin typeface="Calibri"/>
                <a:cs typeface="Calibri"/>
              </a:rPr>
              <a:t>sleep video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8784556" y="4591811"/>
            <a:ext cx="3180080" cy="108966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indent="-3175" algn="ctr">
              <a:lnSpc>
                <a:spcPct val="99600"/>
              </a:lnSpc>
              <a:spcBef>
                <a:spcPts val="105"/>
              </a:spcBef>
            </a:pPr>
            <a:r>
              <a:rPr sz="1400" i="1">
                <a:latin typeface="Calibri"/>
                <a:cs typeface="Calibri"/>
              </a:rPr>
              <a:t>It</a:t>
            </a:r>
            <a:r>
              <a:rPr sz="1400" i="1" spc="-1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kinda</a:t>
            </a:r>
            <a:r>
              <a:rPr sz="1400" i="1" spc="-1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made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me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sad</a:t>
            </a:r>
            <a:r>
              <a:rPr sz="1400" i="1" spc="-1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and</a:t>
            </a:r>
            <a:r>
              <a:rPr sz="1400" i="1" spc="-1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cry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a</a:t>
            </a:r>
            <a:r>
              <a:rPr sz="1400" i="1" spc="-1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little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bit</a:t>
            </a:r>
            <a:r>
              <a:rPr sz="1400" i="1" spc="-15">
                <a:latin typeface="Calibri"/>
                <a:cs typeface="Calibri"/>
              </a:rPr>
              <a:t> </a:t>
            </a:r>
            <a:r>
              <a:rPr sz="1400" i="1" spc="-50">
                <a:latin typeface="Calibri"/>
                <a:cs typeface="Calibri"/>
              </a:rPr>
              <a:t>, </a:t>
            </a:r>
            <a:r>
              <a:rPr sz="1400" i="1">
                <a:latin typeface="Calibri"/>
                <a:cs typeface="Calibri"/>
              </a:rPr>
              <a:t>mainly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because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I</a:t>
            </a:r>
            <a:r>
              <a:rPr sz="1400" b="1" i="1" spc="-25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never</a:t>
            </a:r>
            <a:r>
              <a:rPr sz="1400" b="1" i="1" spc="-30">
                <a:latin typeface="Calibri"/>
                <a:cs typeface="Calibri"/>
              </a:rPr>
              <a:t> </a:t>
            </a:r>
            <a:r>
              <a:rPr sz="1400" b="1" i="1">
                <a:latin typeface="Calibri"/>
                <a:cs typeface="Calibri"/>
              </a:rPr>
              <a:t>knew</a:t>
            </a:r>
            <a:r>
              <a:rPr sz="1400" b="1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some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of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 spc="-25">
                <a:latin typeface="Calibri"/>
                <a:cs typeface="Calibri"/>
              </a:rPr>
              <a:t>the </a:t>
            </a:r>
            <a:r>
              <a:rPr sz="1400" i="1">
                <a:latin typeface="Calibri"/>
                <a:cs typeface="Calibri"/>
              </a:rPr>
              <a:t>things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they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were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saying!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And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 spc="-10">
                <a:latin typeface="Calibri"/>
                <a:cs typeface="Calibri"/>
              </a:rPr>
              <a:t>unfortunately </a:t>
            </a:r>
            <a:r>
              <a:rPr sz="1400" i="1">
                <a:latin typeface="Calibri"/>
                <a:cs typeface="Calibri"/>
              </a:rPr>
              <a:t>my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daughter</a:t>
            </a:r>
            <a:r>
              <a:rPr sz="1400" i="1" spc="-4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sleeps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with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me!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Now</a:t>
            </a:r>
            <a:r>
              <a:rPr sz="1400" i="1" spc="-3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it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has</a:t>
            </a:r>
            <a:r>
              <a:rPr sz="1400" i="1" spc="-25">
                <a:latin typeface="Calibri"/>
                <a:cs typeface="Calibri"/>
              </a:rPr>
              <a:t> me </a:t>
            </a:r>
            <a:r>
              <a:rPr sz="1400" i="1">
                <a:latin typeface="Calibri"/>
                <a:cs typeface="Calibri"/>
              </a:rPr>
              <a:t>a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little</a:t>
            </a:r>
            <a:r>
              <a:rPr sz="1400" i="1" spc="-4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scared</a:t>
            </a:r>
            <a:r>
              <a:rPr sz="1400" i="1" spc="-25">
                <a:latin typeface="Calibri"/>
                <a:cs typeface="Calibri"/>
              </a:rPr>
              <a:t> </a:t>
            </a:r>
            <a:r>
              <a:rPr sz="1400" i="1">
                <a:latin typeface="Calibri"/>
                <a:cs typeface="Calibri"/>
              </a:rPr>
              <a:t>and</a:t>
            </a:r>
            <a:r>
              <a:rPr sz="1400" i="1" spc="-30">
                <a:latin typeface="Calibri"/>
                <a:cs typeface="Calibri"/>
              </a:rPr>
              <a:t> </a:t>
            </a:r>
            <a:r>
              <a:rPr sz="1400" i="1" spc="-10">
                <a:latin typeface="Calibri"/>
                <a:cs typeface="Calibri"/>
              </a:rPr>
              <a:t>worried</a:t>
            </a:r>
            <a:endParaRPr sz="1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5168388" y="587739"/>
            <a:ext cx="7023734" cy="6152515"/>
            <a:chOff x="5168388" y="587739"/>
            <a:chExt cx="7023734" cy="615251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168388" y="587739"/>
              <a:ext cx="5261681" cy="5561751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7964129" y="6030570"/>
              <a:ext cx="4228465" cy="709930"/>
            </a:xfrm>
            <a:custGeom>
              <a:avLst/>
              <a:gdLst/>
              <a:ahLst/>
              <a:cxnLst/>
              <a:rect l="l" t="t" r="r" b="b"/>
              <a:pathLst>
                <a:path w="4228465" h="709929">
                  <a:moveTo>
                    <a:pt x="4227870" y="0"/>
                  </a:moveTo>
                  <a:lnTo>
                    <a:pt x="0" y="0"/>
                  </a:lnTo>
                  <a:lnTo>
                    <a:pt x="0" y="709442"/>
                  </a:lnTo>
                  <a:lnTo>
                    <a:pt x="4227870" y="709442"/>
                  </a:lnTo>
                  <a:lnTo>
                    <a:pt x="42278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8101625" y="6100572"/>
            <a:ext cx="3952875" cy="543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" algn="ctr">
              <a:lnSpc>
                <a:spcPct val="100000"/>
              </a:lnSpc>
              <a:spcBef>
                <a:spcPts val="100"/>
              </a:spcBef>
            </a:pPr>
            <a:r>
              <a:rPr sz="2000" b="1" spc="-20">
                <a:solidFill>
                  <a:srgbClr val="1791BB"/>
                </a:solidFill>
                <a:latin typeface="Calibri"/>
                <a:cs typeface="Calibri"/>
              </a:rPr>
              <a:t>CPASS</a:t>
            </a:r>
            <a:r>
              <a:rPr sz="2000" b="1" spc="-85">
                <a:solidFill>
                  <a:srgbClr val="1791BB"/>
                </a:solidFill>
                <a:latin typeface="Calibri"/>
                <a:cs typeface="Calibri"/>
              </a:rPr>
              <a:t> </a:t>
            </a:r>
            <a:r>
              <a:rPr sz="2000" b="1">
                <a:solidFill>
                  <a:srgbClr val="1791BB"/>
                </a:solidFill>
                <a:latin typeface="Calibri"/>
                <a:cs typeface="Calibri"/>
              </a:rPr>
              <a:t>CHICAGO</a:t>
            </a:r>
            <a:r>
              <a:rPr sz="2000" b="1" spc="-90">
                <a:solidFill>
                  <a:srgbClr val="1791BB"/>
                </a:solidFill>
                <a:latin typeface="Calibri"/>
                <a:cs typeface="Calibri"/>
              </a:rPr>
              <a:t> </a:t>
            </a:r>
            <a:r>
              <a:rPr sz="2000" b="1" spc="-20">
                <a:solidFill>
                  <a:srgbClr val="1791BB"/>
                </a:solidFill>
                <a:latin typeface="Calibri"/>
                <a:cs typeface="Calibri"/>
              </a:rPr>
              <a:t>2022</a:t>
            </a:r>
            <a:endParaRPr sz="200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</a:pPr>
            <a:r>
              <a:rPr sz="1400" b="1">
                <a:solidFill>
                  <a:srgbClr val="1791BB"/>
                </a:solidFill>
                <a:latin typeface="Calibri"/>
                <a:cs typeface="Calibri"/>
              </a:rPr>
              <a:t>Reaching</a:t>
            </a:r>
            <a:r>
              <a:rPr sz="1400" b="1" spc="-45">
                <a:solidFill>
                  <a:srgbClr val="1791BB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1791BB"/>
                </a:solidFill>
                <a:latin typeface="Calibri"/>
                <a:cs typeface="Calibri"/>
              </a:rPr>
              <a:t>Cook</a:t>
            </a:r>
            <a:r>
              <a:rPr sz="1400" b="1" spc="-45">
                <a:solidFill>
                  <a:srgbClr val="1791BB"/>
                </a:solidFill>
                <a:latin typeface="Calibri"/>
                <a:cs typeface="Calibri"/>
              </a:rPr>
              <a:t> </a:t>
            </a:r>
            <a:r>
              <a:rPr sz="1400" b="1" spc="-10">
                <a:solidFill>
                  <a:srgbClr val="1791BB"/>
                </a:solidFill>
                <a:latin typeface="Calibri"/>
                <a:cs typeface="Calibri"/>
              </a:rPr>
              <a:t>County’s</a:t>
            </a:r>
            <a:r>
              <a:rPr sz="1400" b="1" spc="-40">
                <a:solidFill>
                  <a:srgbClr val="1791BB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1791BB"/>
                </a:solidFill>
                <a:latin typeface="Calibri"/>
                <a:cs typeface="Calibri"/>
              </a:rPr>
              <a:t>Most</a:t>
            </a:r>
            <a:r>
              <a:rPr sz="1400" b="1" spc="-40">
                <a:solidFill>
                  <a:srgbClr val="1791BB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1791BB"/>
                </a:solidFill>
                <a:latin typeface="Calibri"/>
                <a:cs typeface="Calibri"/>
              </a:rPr>
              <a:t>Impacted</a:t>
            </a:r>
            <a:r>
              <a:rPr sz="1400" b="1" spc="-45">
                <a:solidFill>
                  <a:srgbClr val="1791BB"/>
                </a:solidFill>
                <a:latin typeface="Calibri"/>
                <a:cs typeface="Calibri"/>
              </a:rPr>
              <a:t> </a:t>
            </a:r>
            <a:r>
              <a:rPr sz="1400" b="1" spc="-10">
                <a:solidFill>
                  <a:srgbClr val="1791BB"/>
                </a:solidFill>
                <a:latin typeface="Calibri"/>
                <a:cs typeface="Calibri"/>
              </a:rPr>
              <a:t>Communities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9017021" y="838188"/>
            <a:ext cx="1132840" cy="1020444"/>
          </a:xfrm>
          <a:custGeom>
            <a:avLst/>
            <a:gdLst/>
            <a:ahLst/>
            <a:cxnLst/>
            <a:rect l="l" t="t" r="r" b="b"/>
            <a:pathLst>
              <a:path w="1132840" h="1020444">
                <a:moveTo>
                  <a:pt x="1132225" y="0"/>
                </a:moveTo>
                <a:lnTo>
                  <a:pt x="0" y="0"/>
                </a:lnTo>
                <a:lnTo>
                  <a:pt x="0" y="1020108"/>
                </a:lnTo>
                <a:lnTo>
                  <a:pt x="1132225" y="1020108"/>
                </a:lnTo>
                <a:lnTo>
                  <a:pt x="1132225" y="0"/>
                </a:lnTo>
                <a:close/>
              </a:path>
            </a:pathLst>
          </a:custGeom>
          <a:solidFill>
            <a:srgbClr val="DAE3F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9017021" y="838188"/>
            <a:ext cx="1132840" cy="1020444"/>
          </a:xfrm>
          <a:prstGeom prst="rect">
            <a:avLst/>
          </a:prstGeom>
          <a:ln w="6350">
            <a:solidFill>
              <a:srgbClr val="B4C7E7"/>
            </a:solidFill>
          </a:ln>
        </p:spPr>
        <p:txBody>
          <a:bodyPr vert="horz" wrap="square" lIns="0" tIns="39370" rIns="0" bIns="0" rtlCol="0">
            <a:spAutoFit/>
          </a:bodyPr>
          <a:lstStyle/>
          <a:p>
            <a:pPr marL="199390">
              <a:lnSpc>
                <a:spcPct val="100000"/>
              </a:lnSpc>
              <a:spcBef>
                <a:spcPts val="310"/>
              </a:spcBef>
            </a:pPr>
            <a:r>
              <a:rPr sz="1200" b="1" i="1" spc="-10">
                <a:latin typeface="Calibri"/>
                <a:cs typeface="Calibri"/>
              </a:rPr>
              <a:t>CPASS</a:t>
            </a:r>
            <a:r>
              <a:rPr sz="1200" b="1" i="1" spc="-45">
                <a:latin typeface="Calibri"/>
                <a:cs typeface="Calibri"/>
              </a:rPr>
              <a:t> </a:t>
            </a:r>
            <a:r>
              <a:rPr sz="1200" b="1" i="1" spc="-20">
                <a:latin typeface="Calibri"/>
                <a:cs typeface="Calibri"/>
              </a:rPr>
              <a:t>2022</a:t>
            </a:r>
            <a:endParaRPr sz="1200">
              <a:latin typeface="Calibri"/>
              <a:cs typeface="Calibri"/>
            </a:endParaRPr>
          </a:p>
          <a:p>
            <a:pPr marL="262255" marR="109220" indent="-171450">
              <a:lnSpc>
                <a:spcPts val="1390"/>
              </a:lnSpc>
              <a:spcBef>
                <a:spcPts val="160"/>
              </a:spcBef>
              <a:buFont typeface="Arial"/>
              <a:buChar char="•"/>
              <a:tabLst>
                <a:tab pos="262255" algn="l"/>
              </a:tabLst>
            </a:pPr>
            <a:r>
              <a:rPr sz="1200" b="1" i="1" spc="-10">
                <a:latin typeface="Calibri"/>
                <a:cs typeface="Calibri"/>
              </a:rPr>
              <a:t>Cribette Distribution</a:t>
            </a:r>
            <a:endParaRPr sz="1200">
              <a:latin typeface="Calibri"/>
              <a:cs typeface="Calibri"/>
            </a:endParaRPr>
          </a:p>
          <a:p>
            <a:pPr marL="262890" indent="-172085">
              <a:lnSpc>
                <a:spcPts val="1355"/>
              </a:lnSpc>
              <a:buFont typeface="Arial"/>
              <a:buChar char="•"/>
              <a:tabLst>
                <a:tab pos="262890" algn="l"/>
              </a:tabLst>
            </a:pPr>
            <a:r>
              <a:rPr sz="1200" b="1" i="1" spc="-10">
                <a:latin typeface="Calibri"/>
                <a:cs typeface="Calibri"/>
              </a:rPr>
              <a:t>Outreach</a:t>
            </a:r>
            <a:endParaRPr sz="1200">
              <a:latin typeface="Calibri"/>
              <a:cs typeface="Calibri"/>
            </a:endParaRPr>
          </a:p>
          <a:p>
            <a:pPr marL="262255">
              <a:lnSpc>
                <a:spcPct val="100000"/>
              </a:lnSpc>
              <a:spcBef>
                <a:spcPts val="75"/>
              </a:spcBef>
            </a:pPr>
            <a:r>
              <a:rPr sz="1200" b="1" i="1" spc="-10">
                <a:latin typeface="Calibri"/>
                <a:cs typeface="Calibri"/>
              </a:rPr>
              <a:t>Events</a:t>
            </a:r>
            <a:endParaRPr sz="1200">
              <a:latin typeface="Calibri"/>
              <a:cs typeface="Calibri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9072002" y="1132451"/>
            <a:ext cx="89535" cy="438784"/>
            <a:chOff x="9072002" y="1132451"/>
            <a:chExt cx="89535" cy="438784"/>
          </a:xfrm>
        </p:grpSpPr>
        <p:pic>
          <p:nvPicPr>
            <p:cNvPr id="9" name="object 9"/>
            <p:cNvPicPr/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81830" y="1132451"/>
              <a:ext cx="79502" cy="79502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72002" y="1491326"/>
              <a:ext cx="79502" cy="79502"/>
            </a:xfrm>
            <a:prstGeom prst="rect">
              <a:avLst/>
            </a:prstGeom>
          </p:spPr>
        </p:pic>
      </p:grpSp>
      <p:sp>
        <p:nvSpPr>
          <p:cNvPr id="11" name="object 11"/>
          <p:cNvSpPr txBox="1"/>
          <p:nvPr/>
        </p:nvSpPr>
        <p:spPr>
          <a:xfrm>
            <a:off x="10591548" y="617219"/>
            <a:ext cx="1278255" cy="4552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>
              <a:lnSpc>
                <a:spcPct val="101400"/>
              </a:lnSpc>
              <a:spcBef>
                <a:spcPts val="75"/>
              </a:spcBef>
            </a:pPr>
            <a:r>
              <a:rPr sz="1400" b="1" i="1">
                <a:solidFill>
                  <a:srgbClr val="44546A"/>
                </a:solidFill>
                <a:latin typeface="Calibri"/>
                <a:cs typeface="Calibri"/>
              </a:rPr>
              <a:t>Community</a:t>
            </a:r>
            <a:r>
              <a:rPr sz="1400" b="1" i="1" spc="-40">
                <a:solidFill>
                  <a:srgbClr val="44546A"/>
                </a:solidFill>
                <a:latin typeface="Calibri"/>
                <a:cs typeface="Calibri"/>
              </a:rPr>
              <a:t> </a:t>
            </a:r>
            <a:r>
              <a:rPr sz="1400" b="1" i="1" spc="-20">
                <a:solidFill>
                  <a:srgbClr val="44546A"/>
                </a:solidFill>
                <a:latin typeface="Calibri"/>
                <a:cs typeface="Calibri"/>
              </a:rPr>
              <a:t>baby </a:t>
            </a:r>
            <a:r>
              <a:rPr sz="1400" b="1" i="1" spc="-10">
                <a:solidFill>
                  <a:srgbClr val="44546A"/>
                </a:solidFill>
                <a:latin typeface="Calibri"/>
                <a:cs typeface="Calibri"/>
              </a:rPr>
              <a:t>showers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0591548" y="1266444"/>
            <a:ext cx="1059180" cy="440055"/>
          </a:xfrm>
          <a:prstGeom prst="rect">
            <a:avLst/>
          </a:prstGeom>
        </p:spPr>
        <p:txBody>
          <a:bodyPr vert="horz" wrap="square" lIns="0" tIns="29845" rIns="0" bIns="0" rtlCol="0">
            <a:spAutoFit/>
          </a:bodyPr>
          <a:lstStyle/>
          <a:p>
            <a:pPr marL="12700" marR="5080">
              <a:lnSpc>
                <a:spcPts val="1580"/>
              </a:lnSpc>
              <a:spcBef>
                <a:spcPts val="235"/>
              </a:spcBef>
            </a:pPr>
            <a:r>
              <a:rPr sz="1400" b="1" i="1">
                <a:solidFill>
                  <a:srgbClr val="44546A"/>
                </a:solidFill>
                <a:latin typeface="Calibri"/>
                <a:cs typeface="Calibri"/>
              </a:rPr>
              <a:t>Home</a:t>
            </a:r>
            <a:r>
              <a:rPr sz="1400" b="1" i="1" spc="-30">
                <a:solidFill>
                  <a:srgbClr val="44546A"/>
                </a:solidFill>
                <a:latin typeface="Calibri"/>
                <a:cs typeface="Calibri"/>
              </a:rPr>
              <a:t> </a:t>
            </a:r>
            <a:r>
              <a:rPr sz="1400" b="1" i="1" spc="-10">
                <a:solidFill>
                  <a:srgbClr val="44546A"/>
                </a:solidFill>
                <a:latin typeface="Calibri"/>
                <a:cs typeface="Calibri"/>
              </a:rPr>
              <a:t>Visiting </a:t>
            </a:r>
            <a:r>
              <a:rPr sz="1400" b="1" i="1">
                <a:solidFill>
                  <a:srgbClr val="44546A"/>
                </a:solidFill>
                <a:latin typeface="Calibri"/>
                <a:cs typeface="Calibri"/>
              </a:rPr>
              <a:t>and</a:t>
            </a:r>
            <a:r>
              <a:rPr sz="1400" b="1" i="1" spc="-20">
                <a:solidFill>
                  <a:srgbClr val="44546A"/>
                </a:solidFill>
                <a:latin typeface="Calibri"/>
                <a:cs typeface="Calibri"/>
              </a:rPr>
              <a:t> </a:t>
            </a:r>
            <a:r>
              <a:rPr sz="1400" b="1" i="1" spc="-10">
                <a:solidFill>
                  <a:srgbClr val="44546A"/>
                </a:solidFill>
                <a:latin typeface="Calibri"/>
                <a:cs typeface="Calibri"/>
              </a:rPr>
              <a:t>Doula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0591548" y="1900428"/>
            <a:ext cx="1264285" cy="280543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304800">
              <a:lnSpc>
                <a:spcPct val="101400"/>
              </a:lnSpc>
              <a:spcBef>
                <a:spcPts val="75"/>
              </a:spcBef>
            </a:pPr>
            <a:r>
              <a:rPr sz="1400" b="1" i="1">
                <a:solidFill>
                  <a:srgbClr val="44546A"/>
                </a:solidFill>
                <a:latin typeface="Calibri"/>
                <a:cs typeface="Calibri"/>
              </a:rPr>
              <a:t>Senior</a:t>
            </a:r>
            <a:r>
              <a:rPr sz="1400" b="1" i="1" spc="-35">
                <a:solidFill>
                  <a:srgbClr val="44546A"/>
                </a:solidFill>
                <a:latin typeface="Calibri"/>
                <a:cs typeface="Calibri"/>
              </a:rPr>
              <a:t> </a:t>
            </a:r>
            <a:r>
              <a:rPr sz="1400" b="1" i="1" spc="-10">
                <a:solidFill>
                  <a:srgbClr val="44546A"/>
                </a:solidFill>
                <a:latin typeface="Calibri"/>
                <a:cs typeface="Calibri"/>
              </a:rPr>
              <a:t>Living Centers</a:t>
            </a:r>
            <a:endParaRPr sz="1400">
              <a:latin typeface="Calibri"/>
              <a:cs typeface="Calibri"/>
            </a:endParaRPr>
          </a:p>
          <a:p>
            <a:pPr marL="12700" marR="252729">
              <a:lnSpc>
                <a:spcPct val="101400"/>
              </a:lnSpc>
              <a:spcBef>
                <a:spcPts val="1585"/>
              </a:spcBef>
            </a:pPr>
            <a:r>
              <a:rPr sz="1400" b="1" i="1" spc="-10">
                <a:solidFill>
                  <a:srgbClr val="44546A"/>
                </a:solidFill>
                <a:latin typeface="Calibri"/>
                <a:cs typeface="Calibri"/>
              </a:rPr>
              <a:t>Community </a:t>
            </a:r>
            <a:r>
              <a:rPr sz="1400" b="1" i="1">
                <a:solidFill>
                  <a:srgbClr val="44546A"/>
                </a:solidFill>
                <a:latin typeface="Calibri"/>
                <a:cs typeface="Calibri"/>
              </a:rPr>
              <a:t>resource</a:t>
            </a:r>
            <a:r>
              <a:rPr sz="1400" b="1" i="1" spc="-50">
                <a:solidFill>
                  <a:srgbClr val="44546A"/>
                </a:solidFill>
                <a:latin typeface="Calibri"/>
                <a:cs typeface="Calibri"/>
              </a:rPr>
              <a:t> </a:t>
            </a:r>
            <a:r>
              <a:rPr sz="1400" b="1" i="1" spc="-10">
                <a:solidFill>
                  <a:srgbClr val="44546A"/>
                </a:solidFill>
                <a:latin typeface="Calibri"/>
                <a:cs typeface="Calibri"/>
              </a:rPr>
              <a:t>fairs</a:t>
            </a:r>
            <a:endParaRPr sz="1400">
              <a:latin typeface="Calibri"/>
              <a:cs typeface="Calibri"/>
            </a:endParaRPr>
          </a:p>
          <a:p>
            <a:pPr marL="12700" marR="5080">
              <a:lnSpc>
                <a:spcPct val="101400"/>
              </a:lnSpc>
              <a:spcBef>
                <a:spcPts val="1705"/>
              </a:spcBef>
            </a:pPr>
            <a:r>
              <a:rPr sz="1400" b="1" i="1">
                <a:solidFill>
                  <a:srgbClr val="44546A"/>
                </a:solidFill>
                <a:latin typeface="Calibri"/>
                <a:cs typeface="Calibri"/>
              </a:rPr>
              <a:t>Barbershops</a:t>
            </a:r>
            <a:r>
              <a:rPr sz="1400" b="1" i="1" spc="-65">
                <a:solidFill>
                  <a:srgbClr val="44546A"/>
                </a:solidFill>
                <a:latin typeface="Calibri"/>
                <a:cs typeface="Calibri"/>
              </a:rPr>
              <a:t> </a:t>
            </a:r>
            <a:r>
              <a:rPr sz="1400" b="1" i="1" spc="-25">
                <a:solidFill>
                  <a:srgbClr val="44546A"/>
                </a:solidFill>
                <a:latin typeface="Calibri"/>
                <a:cs typeface="Calibri"/>
              </a:rPr>
              <a:t>and </a:t>
            </a:r>
            <a:r>
              <a:rPr sz="1400" b="1" i="1">
                <a:solidFill>
                  <a:srgbClr val="44546A"/>
                </a:solidFill>
                <a:latin typeface="Calibri"/>
                <a:cs typeface="Calibri"/>
              </a:rPr>
              <a:t>Nail</a:t>
            </a:r>
            <a:r>
              <a:rPr sz="1400" b="1" i="1" spc="-30">
                <a:solidFill>
                  <a:srgbClr val="44546A"/>
                </a:solidFill>
                <a:latin typeface="Calibri"/>
                <a:cs typeface="Calibri"/>
              </a:rPr>
              <a:t> </a:t>
            </a:r>
            <a:r>
              <a:rPr sz="1400" b="1" i="1" spc="-10">
                <a:solidFill>
                  <a:srgbClr val="44546A"/>
                </a:solidFill>
                <a:latin typeface="Calibri"/>
                <a:cs typeface="Calibri"/>
              </a:rPr>
              <a:t>Salons</a:t>
            </a:r>
            <a:endParaRPr sz="14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605"/>
              </a:spcBef>
            </a:pPr>
            <a:r>
              <a:rPr sz="1400" b="1" i="1" spc="-10">
                <a:solidFill>
                  <a:srgbClr val="44546A"/>
                </a:solidFill>
                <a:latin typeface="Calibri"/>
                <a:cs typeface="Calibri"/>
              </a:rPr>
              <a:t>Churches</a:t>
            </a:r>
            <a:endParaRPr sz="1400">
              <a:latin typeface="Calibri"/>
              <a:cs typeface="Calibri"/>
            </a:endParaRPr>
          </a:p>
          <a:p>
            <a:pPr marL="12700" marR="394970">
              <a:lnSpc>
                <a:spcPct val="101400"/>
              </a:lnSpc>
              <a:spcBef>
                <a:spcPts val="1705"/>
              </a:spcBef>
            </a:pPr>
            <a:r>
              <a:rPr sz="1400" b="1" i="1" spc="-10">
                <a:solidFill>
                  <a:srgbClr val="44546A"/>
                </a:solidFill>
                <a:latin typeface="Calibri"/>
                <a:cs typeface="Calibri"/>
              </a:rPr>
              <a:t>Community festivals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0591548" y="4884420"/>
            <a:ext cx="1078230" cy="4552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>
              <a:lnSpc>
                <a:spcPct val="101400"/>
              </a:lnSpc>
              <a:spcBef>
                <a:spcPts val="75"/>
              </a:spcBef>
            </a:pPr>
            <a:r>
              <a:rPr sz="1400" b="1" i="1">
                <a:solidFill>
                  <a:srgbClr val="44546A"/>
                </a:solidFill>
                <a:latin typeface="Calibri"/>
                <a:cs typeface="Calibri"/>
              </a:rPr>
              <a:t>Back</a:t>
            </a:r>
            <a:r>
              <a:rPr sz="1400" b="1" i="1" spc="-35">
                <a:solidFill>
                  <a:srgbClr val="44546A"/>
                </a:solidFill>
                <a:latin typeface="Calibri"/>
                <a:cs typeface="Calibri"/>
              </a:rPr>
              <a:t> </a:t>
            </a:r>
            <a:r>
              <a:rPr sz="1400" b="1" i="1">
                <a:solidFill>
                  <a:srgbClr val="44546A"/>
                </a:solidFill>
                <a:latin typeface="Calibri"/>
                <a:cs typeface="Calibri"/>
              </a:rPr>
              <a:t>to</a:t>
            </a:r>
            <a:r>
              <a:rPr sz="1400" b="1" i="1" spc="-30">
                <a:solidFill>
                  <a:srgbClr val="44546A"/>
                </a:solidFill>
                <a:latin typeface="Calibri"/>
                <a:cs typeface="Calibri"/>
              </a:rPr>
              <a:t> </a:t>
            </a:r>
            <a:r>
              <a:rPr sz="1400" b="1" i="1" spc="-10">
                <a:solidFill>
                  <a:srgbClr val="44546A"/>
                </a:solidFill>
                <a:latin typeface="Calibri"/>
                <a:cs typeface="Calibri"/>
              </a:rPr>
              <a:t>school events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0591548" y="5533644"/>
            <a:ext cx="874394" cy="440055"/>
          </a:xfrm>
          <a:prstGeom prst="rect">
            <a:avLst/>
          </a:prstGeom>
        </p:spPr>
        <p:txBody>
          <a:bodyPr vert="horz" wrap="square" lIns="0" tIns="29845" rIns="0" bIns="0" rtlCol="0">
            <a:spAutoFit/>
          </a:bodyPr>
          <a:lstStyle/>
          <a:p>
            <a:pPr marL="12700" marR="5080">
              <a:lnSpc>
                <a:spcPts val="1580"/>
              </a:lnSpc>
              <a:spcBef>
                <a:spcPts val="235"/>
              </a:spcBef>
            </a:pPr>
            <a:r>
              <a:rPr sz="1400" b="1" i="1" spc="-10">
                <a:solidFill>
                  <a:srgbClr val="44546A"/>
                </a:solidFill>
                <a:latin typeface="Calibri"/>
                <a:cs typeface="Calibri"/>
              </a:rPr>
              <a:t>Community </a:t>
            </a:r>
            <a:r>
              <a:rPr sz="1400" b="1" i="1">
                <a:solidFill>
                  <a:srgbClr val="44546A"/>
                </a:solidFill>
                <a:latin typeface="Calibri"/>
                <a:cs typeface="Calibri"/>
              </a:rPr>
              <a:t>health</a:t>
            </a:r>
            <a:r>
              <a:rPr sz="1400" b="1" i="1" spc="-25">
                <a:solidFill>
                  <a:srgbClr val="44546A"/>
                </a:solidFill>
                <a:latin typeface="Calibri"/>
                <a:cs typeface="Calibri"/>
              </a:rPr>
              <a:t> </a:t>
            </a:r>
            <a:r>
              <a:rPr sz="1400" b="1" i="1" spc="-10">
                <a:solidFill>
                  <a:srgbClr val="44546A"/>
                </a:solidFill>
                <a:latin typeface="Calibri"/>
                <a:cs typeface="Calibri"/>
              </a:rPr>
              <a:t>fairs</a:t>
            </a:r>
            <a:endParaRPr sz="1400">
              <a:latin typeface="Calibri"/>
              <a:cs typeface="Calibri"/>
            </a:endParaRPr>
          </a:p>
        </p:txBody>
      </p:sp>
      <p:pic>
        <p:nvPicPr>
          <p:cNvPr id="16" name="object 1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63673" y="597783"/>
            <a:ext cx="4921854" cy="5551707"/>
          </a:xfrm>
          <a:prstGeom prst="rect">
            <a:avLst/>
          </a:prstGeom>
        </p:spPr>
      </p:pic>
      <p:sp>
        <p:nvSpPr>
          <p:cNvPr id="17" name="object 17"/>
          <p:cNvSpPr txBox="1"/>
          <p:nvPr/>
        </p:nvSpPr>
        <p:spPr>
          <a:xfrm>
            <a:off x="293308" y="5120262"/>
            <a:ext cx="1520825" cy="753220"/>
          </a:xfrm>
          <a:prstGeom prst="rect">
            <a:avLst/>
          </a:prstGeom>
          <a:solidFill>
            <a:srgbClr val="DAE3F3"/>
          </a:solidFill>
          <a:ln w="6350">
            <a:solidFill>
              <a:srgbClr val="B4C7E7"/>
            </a:solidFill>
          </a:ln>
        </p:spPr>
        <p:txBody>
          <a:bodyPr vert="horz" wrap="square" lIns="0" tIns="13970" rIns="0" bIns="0" rtlCol="0">
            <a:spAutoFit/>
          </a:bodyPr>
          <a:lstStyle/>
          <a:p>
            <a:pPr marL="137160" marR="130175" algn="ctr">
              <a:lnSpc>
                <a:spcPct val="100800"/>
              </a:lnSpc>
              <a:spcBef>
                <a:spcPts val="110"/>
              </a:spcBef>
            </a:pPr>
            <a:r>
              <a:rPr sz="1200" b="1" i="1" spc="-10" dirty="0">
                <a:latin typeface="Calibri"/>
                <a:cs typeface="Calibri"/>
              </a:rPr>
              <a:t>Sleep-</a:t>
            </a:r>
            <a:r>
              <a:rPr sz="1200" b="1" i="1" dirty="0">
                <a:latin typeface="Calibri"/>
                <a:cs typeface="Calibri"/>
              </a:rPr>
              <a:t>related</a:t>
            </a:r>
            <a:r>
              <a:rPr sz="1200" b="1" i="1" spc="-20" dirty="0">
                <a:latin typeface="Calibri"/>
                <a:cs typeface="Calibri"/>
              </a:rPr>
              <a:t> SUID </a:t>
            </a:r>
            <a:r>
              <a:rPr sz="1200" b="1" i="1" dirty="0">
                <a:latin typeface="Calibri"/>
                <a:cs typeface="Calibri"/>
              </a:rPr>
              <a:t>of</a:t>
            </a:r>
            <a:r>
              <a:rPr sz="1200" b="1" i="1" spc="-15" dirty="0">
                <a:latin typeface="Calibri"/>
                <a:cs typeface="Calibri"/>
              </a:rPr>
              <a:t> </a:t>
            </a:r>
            <a:r>
              <a:rPr sz="1200" b="1" i="1" dirty="0">
                <a:latin typeface="Calibri"/>
                <a:cs typeface="Calibri"/>
              </a:rPr>
              <a:t>Cook</a:t>
            </a:r>
            <a:r>
              <a:rPr sz="1200" b="1" i="1" spc="-5" dirty="0">
                <a:latin typeface="Calibri"/>
                <a:cs typeface="Calibri"/>
              </a:rPr>
              <a:t> </a:t>
            </a:r>
            <a:r>
              <a:rPr sz="1200" b="1" i="1" spc="-10" dirty="0">
                <a:latin typeface="Calibri"/>
                <a:cs typeface="Calibri"/>
              </a:rPr>
              <a:t>County, 2019-</a:t>
            </a:r>
            <a:r>
              <a:rPr sz="1200" b="1" i="1" spc="-20" dirty="0">
                <a:latin typeface="Calibri"/>
                <a:cs typeface="Calibri"/>
              </a:rPr>
              <a:t>2021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ts val="1390"/>
              </a:lnSpc>
            </a:pPr>
            <a:r>
              <a:rPr sz="1200" b="1" i="1" spc="-10" dirty="0">
                <a:latin typeface="Calibri"/>
                <a:cs typeface="Calibri"/>
              </a:rPr>
              <a:t>(141)</a:t>
            </a:r>
            <a:endParaRPr sz="12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199438" y="1091063"/>
            <a:ext cx="7793122" cy="4675873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417890" y="1696266"/>
            <a:ext cx="2252345" cy="2908935"/>
            <a:chOff x="417890" y="1696266"/>
            <a:chExt cx="2252345" cy="290893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27414" y="1998392"/>
              <a:ext cx="2232737" cy="2438331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422652" y="1701029"/>
              <a:ext cx="2242820" cy="2899410"/>
            </a:xfrm>
            <a:custGeom>
              <a:avLst/>
              <a:gdLst/>
              <a:ahLst/>
              <a:cxnLst/>
              <a:rect l="l" t="t" r="r" b="b"/>
              <a:pathLst>
                <a:path w="2242820" h="2899410">
                  <a:moveTo>
                    <a:pt x="0" y="0"/>
                  </a:moveTo>
                  <a:lnTo>
                    <a:pt x="2242261" y="0"/>
                  </a:lnTo>
                  <a:lnTo>
                    <a:pt x="2242261" y="2898948"/>
                  </a:lnTo>
                  <a:lnTo>
                    <a:pt x="0" y="2898948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00683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" name="object 5"/>
          <p:cNvGrpSpPr/>
          <p:nvPr/>
        </p:nvGrpSpPr>
        <p:grpSpPr>
          <a:xfrm>
            <a:off x="5689216" y="1198032"/>
            <a:ext cx="4462145" cy="4462145"/>
            <a:chOff x="5689216" y="1198032"/>
            <a:chExt cx="4462145" cy="4462145"/>
          </a:xfrm>
        </p:grpSpPr>
        <p:sp>
          <p:nvSpPr>
            <p:cNvPr id="6" name="object 6"/>
            <p:cNvSpPr/>
            <p:nvPr/>
          </p:nvSpPr>
          <p:spPr>
            <a:xfrm>
              <a:off x="5689216" y="1198032"/>
              <a:ext cx="4462145" cy="4462145"/>
            </a:xfrm>
            <a:custGeom>
              <a:avLst/>
              <a:gdLst/>
              <a:ahLst/>
              <a:cxnLst/>
              <a:rect l="l" t="t" r="r" b="b"/>
              <a:pathLst>
                <a:path w="4462145" h="4462145">
                  <a:moveTo>
                    <a:pt x="2230967" y="0"/>
                  </a:moveTo>
                  <a:lnTo>
                    <a:pt x="0" y="2230967"/>
                  </a:lnTo>
                  <a:lnTo>
                    <a:pt x="2230967" y="4461932"/>
                  </a:lnTo>
                  <a:lnTo>
                    <a:pt x="4461932" y="2230967"/>
                  </a:lnTo>
                  <a:lnTo>
                    <a:pt x="2230967" y="0"/>
                  </a:lnTo>
                  <a:close/>
                </a:path>
              </a:pathLst>
            </a:custGeom>
            <a:solidFill>
              <a:srgbClr val="D2DEE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6113100" y="1621915"/>
              <a:ext cx="1740535" cy="1740535"/>
            </a:xfrm>
            <a:custGeom>
              <a:avLst/>
              <a:gdLst/>
              <a:ahLst/>
              <a:cxnLst/>
              <a:rect l="l" t="t" r="r" b="b"/>
              <a:pathLst>
                <a:path w="1740534" h="1740535">
                  <a:moveTo>
                    <a:pt x="1450121" y="0"/>
                  </a:moveTo>
                  <a:lnTo>
                    <a:pt x="290031" y="0"/>
                  </a:lnTo>
                  <a:lnTo>
                    <a:pt x="242986" y="3796"/>
                  </a:lnTo>
                  <a:lnTo>
                    <a:pt x="198359" y="14785"/>
                  </a:lnTo>
                  <a:lnTo>
                    <a:pt x="156745" y="32372"/>
                  </a:lnTo>
                  <a:lnTo>
                    <a:pt x="118742" y="55959"/>
                  </a:lnTo>
                  <a:lnTo>
                    <a:pt x="84948" y="84948"/>
                  </a:lnTo>
                  <a:lnTo>
                    <a:pt x="55959" y="118742"/>
                  </a:lnTo>
                  <a:lnTo>
                    <a:pt x="32372" y="156745"/>
                  </a:lnTo>
                  <a:lnTo>
                    <a:pt x="14786" y="198358"/>
                  </a:lnTo>
                  <a:lnTo>
                    <a:pt x="3796" y="242986"/>
                  </a:lnTo>
                  <a:lnTo>
                    <a:pt x="0" y="290031"/>
                  </a:lnTo>
                  <a:lnTo>
                    <a:pt x="0" y="1450120"/>
                  </a:lnTo>
                  <a:lnTo>
                    <a:pt x="3796" y="1497164"/>
                  </a:lnTo>
                  <a:lnTo>
                    <a:pt x="14786" y="1541792"/>
                  </a:lnTo>
                  <a:lnTo>
                    <a:pt x="32372" y="1583406"/>
                  </a:lnTo>
                  <a:lnTo>
                    <a:pt x="55959" y="1621409"/>
                  </a:lnTo>
                  <a:lnTo>
                    <a:pt x="84948" y="1655203"/>
                  </a:lnTo>
                  <a:lnTo>
                    <a:pt x="118742" y="1684192"/>
                  </a:lnTo>
                  <a:lnTo>
                    <a:pt x="156745" y="1707778"/>
                  </a:lnTo>
                  <a:lnTo>
                    <a:pt x="198359" y="1725365"/>
                  </a:lnTo>
                  <a:lnTo>
                    <a:pt x="242986" y="1736355"/>
                  </a:lnTo>
                  <a:lnTo>
                    <a:pt x="290031" y="1740151"/>
                  </a:lnTo>
                  <a:lnTo>
                    <a:pt x="1450121" y="1740151"/>
                  </a:lnTo>
                  <a:lnTo>
                    <a:pt x="1497166" y="1736355"/>
                  </a:lnTo>
                  <a:lnTo>
                    <a:pt x="1541794" y="1725365"/>
                  </a:lnTo>
                  <a:lnTo>
                    <a:pt x="1583407" y="1707778"/>
                  </a:lnTo>
                  <a:lnTo>
                    <a:pt x="1621410" y="1684192"/>
                  </a:lnTo>
                  <a:lnTo>
                    <a:pt x="1655205" y="1655203"/>
                  </a:lnTo>
                  <a:lnTo>
                    <a:pt x="1684194" y="1621409"/>
                  </a:lnTo>
                  <a:lnTo>
                    <a:pt x="1707781" y="1583406"/>
                  </a:lnTo>
                  <a:lnTo>
                    <a:pt x="1725367" y="1541792"/>
                  </a:lnTo>
                  <a:lnTo>
                    <a:pt x="1736357" y="1497164"/>
                  </a:lnTo>
                  <a:lnTo>
                    <a:pt x="1740153" y="1450120"/>
                  </a:lnTo>
                  <a:lnTo>
                    <a:pt x="1740153" y="290031"/>
                  </a:lnTo>
                  <a:lnTo>
                    <a:pt x="1736357" y="242986"/>
                  </a:lnTo>
                  <a:lnTo>
                    <a:pt x="1725367" y="198358"/>
                  </a:lnTo>
                  <a:lnTo>
                    <a:pt x="1707781" y="156745"/>
                  </a:lnTo>
                  <a:lnTo>
                    <a:pt x="1684194" y="118742"/>
                  </a:lnTo>
                  <a:lnTo>
                    <a:pt x="1655205" y="84948"/>
                  </a:lnTo>
                  <a:lnTo>
                    <a:pt x="1621410" y="55959"/>
                  </a:lnTo>
                  <a:lnTo>
                    <a:pt x="1583407" y="32372"/>
                  </a:lnTo>
                  <a:lnTo>
                    <a:pt x="1541794" y="14785"/>
                  </a:lnTo>
                  <a:lnTo>
                    <a:pt x="1497166" y="3796"/>
                  </a:lnTo>
                  <a:lnTo>
                    <a:pt x="1450121" y="0"/>
                  </a:lnTo>
                  <a:close/>
                </a:path>
              </a:pathLst>
            </a:custGeom>
            <a:solidFill>
              <a:srgbClr val="5B9BD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6113100" y="1621915"/>
              <a:ext cx="1740535" cy="1740535"/>
            </a:xfrm>
            <a:custGeom>
              <a:avLst/>
              <a:gdLst/>
              <a:ahLst/>
              <a:cxnLst/>
              <a:rect l="l" t="t" r="r" b="b"/>
              <a:pathLst>
                <a:path w="1740534" h="1740535">
                  <a:moveTo>
                    <a:pt x="0" y="290031"/>
                  </a:moveTo>
                  <a:lnTo>
                    <a:pt x="3796" y="242986"/>
                  </a:lnTo>
                  <a:lnTo>
                    <a:pt x="14785" y="198358"/>
                  </a:lnTo>
                  <a:lnTo>
                    <a:pt x="32372" y="156745"/>
                  </a:lnTo>
                  <a:lnTo>
                    <a:pt x="55959" y="118742"/>
                  </a:lnTo>
                  <a:lnTo>
                    <a:pt x="84948" y="84948"/>
                  </a:lnTo>
                  <a:lnTo>
                    <a:pt x="118742" y="55959"/>
                  </a:lnTo>
                  <a:lnTo>
                    <a:pt x="156745" y="32372"/>
                  </a:lnTo>
                  <a:lnTo>
                    <a:pt x="198358" y="14785"/>
                  </a:lnTo>
                  <a:lnTo>
                    <a:pt x="242986" y="3796"/>
                  </a:lnTo>
                  <a:lnTo>
                    <a:pt x="290031" y="0"/>
                  </a:lnTo>
                  <a:lnTo>
                    <a:pt x="1450122" y="0"/>
                  </a:lnTo>
                  <a:lnTo>
                    <a:pt x="1497166" y="3796"/>
                  </a:lnTo>
                  <a:lnTo>
                    <a:pt x="1541794" y="14785"/>
                  </a:lnTo>
                  <a:lnTo>
                    <a:pt x="1583408" y="32372"/>
                  </a:lnTo>
                  <a:lnTo>
                    <a:pt x="1621410" y="55959"/>
                  </a:lnTo>
                  <a:lnTo>
                    <a:pt x="1655205" y="84948"/>
                  </a:lnTo>
                  <a:lnTo>
                    <a:pt x="1684193" y="118742"/>
                  </a:lnTo>
                  <a:lnTo>
                    <a:pt x="1707780" y="156745"/>
                  </a:lnTo>
                  <a:lnTo>
                    <a:pt x="1725367" y="198358"/>
                  </a:lnTo>
                  <a:lnTo>
                    <a:pt x="1736357" y="242986"/>
                  </a:lnTo>
                  <a:lnTo>
                    <a:pt x="1740153" y="290031"/>
                  </a:lnTo>
                  <a:lnTo>
                    <a:pt x="1740153" y="1450120"/>
                  </a:lnTo>
                  <a:lnTo>
                    <a:pt x="1736357" y="1497164"/>
                  </a:lnTo>
                  <a:lnTo>
                    <a:pt x="1725367" y="1541792"/>
                  </a:lnTo>
                  <a:lnTo>
                    <a:pt x="1707780" y="1583406"/>
                  </a:lnTo>
                  <a:lnTo>
                    <a:pt x="1684193" y="1621408"/>
                  </a:lnTo>
                  <a:lnTo>
                    <a:pt x="1655205" y="1655203"/>
                  </a:lnTo>
                  <a:lnTo>
                    <a:pt x="1621410" y="1684191"/>
                  </a:lnTo>
                  <a:lnTo>
                    <a:pt x="1583408" y="1707778"/>
                  </a:lnTo>
                  <a:lnTo>
                    <a:pt x="1541794" y="1725365"/>
                  </a:lnTo>
                  <a:lnTo>
                    <a:pt x="1497166" y="1736355"/>
                  </a:lnTo>
                  <a:lnTo>
                    <a:pt x="1450122" y="1740151"/>
                  </a:lnTo>
                  <a:lnTo>
                    <a:pt x="290031" y="1740151"/>
                  </a:lnTo>
                  <a:lnTo>
                    <a:pt x="242986" y="1736355"/>
                  </a:lnTo>
                  <a:lnTo>
                    <a:pt x="198358" y="1725365"/>
                  </a:lnTo>
                  <a:lnTo>
                    <a:pt x="156745" y="1707778"/>
                  </a:lnTo>
                  <a:lnTo>
                    <a:pt x="118742" y="1684191"/>
                  </a:lnTo>
                  <a:lnTo>
                    <a:pt x="84948" y="1655203"/>
                  </a:lnTo>
                  <a:lnTo>
                    <a:pt x="55959" y="1621408"/>
                  </a:lnTo>
                  <a:lnTo>
                    <a:pt x="32372" y="1583406"/>
                  </a:lnTo>
                  <a:lnTo>
                    <a:pt x="14785" y="1541792"/>
                  </a:lnTo>
                  <a:lnTo>
                    <a:pt x="3796" y="1497164"/>
                  </a:lnTo>
                  <a:lnTo>
                    <a:pt x="0" y="1450120"/>
                  </a:lnTo>
                  <a:lnTo>
                    <a:pt x="0" y="290031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7987112" y="1621915"/>
              <a:ext cx="1740535" cy="1740535"/>
            </a:xfrm>
            <a:custGeom>
              <a:avLst/>
              <a:gdLst/>
              <a:ahLst/>
              <a:cxnLst/>
              <a:rect l="l" t="t" r="r" b="b"/>
              <a:pathLst>
                <a:path w="1740534" h="1740535">
                  <a:moveTo>
                    <a:pt x="1450121" y="0"/>
                  </a:moveTo>
                  <a:lnTo>
                    <a:pt x="290031" y="0"/>
                  </a:lnTo>
                  <a:lnTo>
                    <a:pt x="242986" y="3796"/>
                  </a:lnTo>
                  <a:lnTo>
                    <a:pt x="198358" y="14785"/>
                  </a:lnTo>
                  <a:lnTo>
                    <a:pt x="156745" y="32372"/>
                  </a:lnTo>
                  <a:lnTo>
                    <a:pt x="118742" y="55959"/>
                  </a:lnTo>
                  <a:lnTo>
                    <a:pt x="84948" y="84948"/>
                  </a:lnTo>
                  <a:lnTo>
                    <a:pt x="55959" y="118742"/>
                  </a:lnTo>
                  <a:lnTo>
                    <a:pt x="32372" y="156745"/>
                  </a:lnTo>
                  <a:lnTo>
                    <a:pt x="14785" y="198358"/>
                  </a:lnTo>
                  <a:lnTo>
                    <a:pt x="3796" y="242986"/>
                  </a:lnTo>
                  <a:lnTo>
                    <a:pt x="0" y="290031"/>
                  </a:lnTo>
                  <a:lnTo>
                    <a:pt x="0" y="1450120"/>
                  </a:lnTo>
                  <a:lnTo>
                    <a:pt x="3796" y="1497164"/>
                  </a:lnTo>
                  <a:lnTo>
                    <a:pt x="14785" y="1541792"/>
                  </a:lnTo>
                  <a:lnTo>
                    <a:pt x="32372" y="1583406"/>
                  </a:lnTo>
                  <a:lnTo>
                    <a:pt x="55959" y="1621409"/>
                  </a:lnTo>
                  <a:lnTo>
                    <a:pt x="84948" y="1655203"/>
                  </a:lnTo>
                  <a:lnTo>
                    <a:pt x="118742" y="1684192"/>
                  </a:lnTo>
                  <a:lnTo>
                    <a:pt x="156745" y="1707778"/>
                  </a:lnTo>
                  <a:lnTo>
                    <a:pt x="198358" y="1725365"/>
                  </a:lnTo>
                  <a:lnTo>
                    <a:pt x="242986" y="1736355"/>
                  </a:lnTo>
                  <a:lnTo>
                    <a:pt x="290031" y="1740151"/>
                  </a:lnTo>
                  <a:lnTo>
                    <a:pt x="1450121" y="1740151"/>
                  </a:lnTo>
                  <a:lnTo>
                    <a:pt x="1497166" y="1736355"/>
                  </a:lnTo>
                  <a:lnTo>
                    <a:pt x="1541793" y="1725365"/>
                  </a:lnTo>
                  <a:lnTo>
                    <a:pt x="1583407" y="1707778"/>
                  </a:lnTo>
                  <a:lnTo>
                    <a:pt x="1621410" y="1684192"/>
                  </a:lnTo>
                  <a:lnTo>
                    <a:pt x="1655204" y="1655203"/>
                  </a:lnTo>
                  <a:lnTo>
                    <a:pt x="1684193" y="1621409"/>
                  </a:lnTo>
                  <a:lnTo>
                    <a:pt x="1707780" y="1583406"/>
                  </a:lnTo>
                  <a:lnTo>
                    <a:pt x="1725366" y="1541792"/>
                  </a:lnTo>
                  <a:lnTo>
                    <a:pt x="1736356" y="1497164"/>
                  </a:lnTo>
                  <a:lnTo>
                    <a:pt x="1740152" y="1450120"/>
                  </a:lnTo>
                  <a:lnTo>
                    <a:pt x="1740152" y="290031"/>
                  </a:lnTo>
                  <a:lnTo>
                    <a:pt x="1736356" y="242986"/>
                  </a:lnTo>
                  <a:lnTo>
                    <a:pt x="1725366" y="198358"/>
                  </a:lnTo>
                  <a:lnTo>
                    <a:pt x="1707780" y="156745"/>
                  </a:lnTo>
                  <a:lnTo>
                    <a:pt x="1684193" y="118742"/>
                  </a:lnTo>
                  <a:lnTo>
                    <a:pt x="1655204" y="84948"/>
                  </a:lnTo>
                  <a:lnTo>
                    <a:pt x="1621410" y="55959"/>
                  </a:lnTo>
                  <a:lnTo>
                    <a:pt x="1583407" y="32372"/>
                  </a:lnTo>
                  <a:lnTo>
                    <a:pt x="1541793" y="14785"/>
                  </a:lnTo>
                  <a:lnTo>
                    <a:pt x="1497166" y="3796"/>
                  </a:lnTo>
                  <a:lnTo>
                    <a:pt x="1450121" y="0"/>
                  </a:lnTo>
                  <a:close/>
                </a:path>
              </a:pathLst>
            </a:custGeom>
            <a:solidFill>
              <a:srgbClr val="52CAB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7987112" y="1621915"/>
              <a:ext cx="1740535" cy="1740535"/>
            </a:xfrm>
            <a:custGeom>
              <a:avLst/>
              <a:gdLst/>
              <a:ahLst/>
              <a:cxnLst/>
              <a:rect l="l" t="t" r="r" b="b"/>
              <a:pathLst>
                <a:path w="1740534" h="1740535">
                  <a:moveTo>
                    <a:pt x="0" y="290031"/>
                  </a:moveTo>
                  <a:lnTo>
                    <a:pt x="3796" y="242986"/>
                  </a:lnTo>
                  <a:lnTo>
                    <a:pt x="14785" y="198358"/>
                  </a:lnTo>
                  <a:lnTo>
                    <a:pt x="32372" y="156745"/>
                  </a:lnTo>
                  <a:lnTo>
                    <a:pt x="55959" y="118742"/>
                  </a:lnTo>
                  <a:lnTo>
                    <a:pt x="84948" y="84948"/>
                  </a:lnTo>
                  <a:lnTo>
                    <a:pt x="118742" y="55959"/>
                  </a:lnTo>
                  <a:lnTo>
                    <a:pt x="156745" y="32372"/>
                  </a:lnTo>
                  <a:lnTo>
                    <a:pt x="198358" y="14785"/>
                  </a:lnTo>
                  <a:lnTo>
                    <a:pt x="242986" y="3796"/>
                  </a:lnTo>
                  <a:lnTo>
                    <a:pt x="290031" y="0"/>
                  </a:lnTo>
                  <a:lnTo>
                    <a:pt x="1450122" y="0"/>
                  </a:lnTo>
                  <a:lnTo>
                    <a:pt x="1497166" y="3796"/>
                  </a:lnTo>
                  <a:lnTo>
                    <a:pt x="1541794" y="14785"/>
                  </a:lnTo>
                  <a:lnTo>
                    <a:pt x="1583408" y="32372"/>
                  </a:lnTo>
                  <a:lnTo>
                    <a:pt x="1621410" y="55959"/>
                  </a:lnTo>
                  <a:lnTo>
                    <a:pt x="1655205" y="84948"/>
                  </a:lnTo>
                  <a:lnTo>
                    <a:pt x="1684193" y="118742"/>
                  </a:lnTo>
                  <a:lnTo>
                    <a:pt x="1707780" y="156745"/>
                  </a:lnTo>
                  <a:lnTo>
                    <a:pt x="1725367" y="198358"/>
                  </a:lnTo>
                  <a:lnTo>
                    <a:pt x="1736357" y="242986"/>
                  </a:lnTo>
                  <a:lnTo>
                    <a:pt x="1740153" y="290031"/>
                  </a:lnTo>
                  <a:lnTo>
                    <a:pt x="1740153" y="1450120"/>
                  </a:lnTo>
                  <a:lnTo>
                    <a:pt x="1736357" y="1497164"/>
                  </a:lnTo>
                  <a:lnTo>
                    <a:pt x="1725367" y="1541792"/>
                  </a:lnTo>
                  <a:lnTo>
                    <a:pt x="1707780" y="1583406"/>
                  </a:lnTo>
                  <a:lnTo>
                    <a:pt x="1684193" y="1621408"/>
                  </a:lnTo>
                  <a:lnTo>
                    <a:pt x="1655205" y="1655203"/>
                  </a:lnTo>
                  <a:lnTo>
                    <a:pt x="1621410" y="1684191"/>
                  </a:lnTo>
                  <a:lnTo>
                    <a:pt x="1583408" y="1707778"/>
                  </a:lnTo>
                  <a:lnTo>
                    <a:pt x="1541794" y="1725365"/>
                  </a:lnTo>
                  <a:lnTo>
                    <a:pt x="1497166" y="1736355"/>
                  </a:lnTo>
                  <a:lnTo>
                    <a:pt x="1450122" y="1740151"/>
                  </a:lnTo>
                  <a:lnTo>
                    <a:pt x="290031" y="1740151"/>
                  </a:lnTo>
                  <a:lnTo>
                    <a:pt x="242986" y="1736355"/>
                  </a:lnTo>
                  <a:lnTo>
                    <a:pt x="198358" y="1725365"/>
                  </a:lnTo>
                  <a:lnTo>
                    <a:pt x="156745" y="1707778"/>
                  </a:lnTo>
                  <a:lnTo>
                    <a:pt x="118742" y="1684191"/>
                  </a:lnTo>
                  <a:lnTo>
                    <a:pt x="84948" y="1655203"/>
                  </a:lnTo>
                  <a:lnTo>
                    <a:pt x="55959" y="1621408"/>
                  </a:lnTo>
                  <a:lnTo>
                    <a:pt x="32372" y="1583406"/>
                  </a:lnTo>
                  <a:lnTo>
                    <a:pt x="14785" y="1541792"/>
                  </a:lnTo>
                  <a:lnTo>
                    <a:pt x="3796" y="1497164"/>
                  </a:lnTo>
                  <a:lnTo>
                    <a:pt x="0" y="1450120"/>
                  </a:lnTo>
                  <a:lnTo>
                    <a:pt x="0" y="290031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8251620" y="1988311"/>
            <a:ext cx="1210945" cy="942975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2065" marR="5080" algn="ctr">
              <a:lnSpc>
                <a:spcPct val="93300"/>
              </a:lnSpc>
              <a:spcBef>
                <a:spcPts val="265"/>
              </a:spcBef>
            </a:pPr>
            <a:r>
              <a:rPr sz="2100" dirty="0">
                <a:solidFill>
                  <a:srgbClr val="FFFFFF"/>
                </a:solidFill>
                <a:latin typeface="Calibri"/>
                <a:cs typeface="Calibri"/>
              </a:rPr>
              <a:t>Health</a:t>
            </a:r>
            <a:r>
              <a:rPr sz="2100" spc="-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100" spc="-25" dirty="0">
                <a:solidFill>
                  <a:srgbClr val="FFFFFF"/>
                </a:solidFill>
                <a:latin typeface="Calibri"/>
                <a:cs typeface="Calibri"/>
              </a:rPr>
              <a:t>and </a:t>
            </a:r>
            <a:r>
              <a:rPr sz="2100" spc="-10" dirty="0">
                <a:solidFill>
                  <a:srgbClr val="FFFFFF"/>
                </a:solidFill>
                <a:latin typeface="Calibri"/>
                <a:cs typeface="Calibri"/>
              </a:rPr>
              <a:t>Human Services</a:t>
            </a:r>
            <a:endParaRPr sz="2100" dirty="0">
              <a:latin typeface="Calibri"/>
              <a:cs typeface="Calibri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6106750" y="3489577"/>
            <a:ext cx="1753235" cy="1753235"/>
            <a:chOff x="6106750" y="3489577"/>
            <a:chExt cx="1753235" cy="1753235"/>
          </a:xfrm>
        </p:grpSpPr>
        <p:sp>
          <p:nvSpPr>
            <p:cNvPr id="13" name="object 13"/>
            <p:cNvSpPr/>
            <p:nvPr/>
          </p:nvSpPr>
          <p:spPr>
            <a:xfrm>
              <a:off x="6113100" y="3495927"/>
              <a:ext cx="1740535" cy="1740535"/>
            </a:xfrm>
            <a:custGeom>
              <a:avLst/>
              <a:gdLst/>
              <a:ahLst/>
              <a:cxnLst/>
              <a:rect l="l" t="t" r="r" b="b"/>
              <a:pathLst>
                <a:path w="1740534" h="1740535">
                  <a:moveTo>
                    <a:pt x="1450121" y="0"/>
                  </a:moveTo>
                  <a:lnTo>
                    <a:pt x="290031" y="0"/>
                  </a:lnTo>
                  <a:lnTo>
                    <a:pt x="242986" y="3796"/>
                  </a:lnTo>
                  <a:lnTo>
                    <a:pt x="198359" y="14785"/>
                  </a:lnTo>
                  <a:lnTo>
                    <a:pt x="156745" y="32372"/>
                  </a:lnTo>
                  <a:lnTo>
                    <a:pt x="118742" y="55959"/>
                  </a:lnTo>
                  <a:lnTo>
                    <a:pt x="84948" y="84948"/>
                  </a:lnTo>
                  <a:lnTo>
                    <a:pt x="55959" y="118742"/>
                  </a:lnTo>
                  <a:lnTo>
                    <a:pt x="32372" y="156745"/>
                  </a:lnTo>
                  <a:lnTo>
                    <a:pt x="14786" y="198358"/>
                  </a:lnTo>
                  <a:lnTo>
                    <a:pt x="3796" y="242986"/>
                  </a:lnTo>
                  <a:lnTo>
                    <a:pt x="0" y="290031"/>
                  </a:lnTo>
                  <a:lnTo>
                    <a:pt x="0" y="1450120"/>
                  </a:lnTo>
                  <a:lnTo>
                    <a:pt x="3796" y="1497164"/>
                  </a:lnTo>
                  <a:lnTo>
                    <a:pt x="14786" y="1541792"/>
                  </a:lnTo>
                  <a:lnTo>
                    <a:pt x="32372" y="1583406"/>
                  </a:lnTo>
                  <a:lnTo>
                    <a:pt x="55959" y="1621409"/>
                  </a:lnTo>
                  <a:lnTo>
                    <a:pt x="84948" y="1655203"/>
                  </a:lnTo>
                  <a:lnTo>
                    <a:pt x="118742" y="1684192"/>
                  </a:lnTo>
                  <a:lnTo>
                    <a:pt x="156745" y="1707778"/>
                  </a:lnTo>
                  <a:lnTo>
                    <a:pt x="198359" y="1725365"/>
                  </a:lnTo>
                  <a:lnTo>
                    <a:pt x="242986" y="1736355"/>
                  </a:lnTo>
                  <a:lnTo>
                    <a:pt x="290031" y="1740151"/>
                  </a:lnTo>
                  <a:lnTo>
                    <a:pt x="1450121" y="1740151"/>
                  </a:lnTo>
                  <a:lnTo>
                    <a:pt x="1497166" y="1736355"/>
                  </a:lnTo>
                  <a:lnTo>
                    <a:pt x="1541794" y="1725365"/>
                  </a:lnTo>
                  <a:lnTo>
                    <a:pt x="1583407" y="1707778"/>
                  </a:lnTo>
                  <a:lnTo>
                    <a:pt x="1621410" y="1684192"/>
                  </a:lnTo>
                  <a:lnTo>
                    <a:pt x="1655205" y="1655203"/>
                  </a:lnTo>
                  <a:lnTo>
                    <a:pt x="1684194" y="1621409"/>
                  </a:lnTo>
                  <a:lnTo>
                    <a:pt x="1707781" y="1583406"/>
                  </a:lnTo>
                  <a:lnTo>
                    <a:pt x="1725367" y="1541792"/>
                  </a:lnTo>
                  <a:lnTo>
                    <a:pt x="1736357" y="1497164"/>
                  </a:lnTo>
                  <a:lnTo>
                    <a:pt x="1740153" y="1450120"/>
                  </a:lnTo>
                  <a:lnTo>
                    <a:pt x="1740153" y="290031"/>
                  </a:lnTo>
                  <a:lnTo>
                    <a:pt x="1736357" y="242986"/>
                  </a:lnTo>
                  <a:lnTo>
                    <a:pt x="1725367" y="198358"/>
                  </a:lnTo>
                  <a:lnTo>
                    <a:pt x="1707781" y="156745"/>
                  </a:lnTo>
                  <a:lnTo>
                    <a:pt x="1684194" y="118742"/>
                  </a:lnTo>
                  <a:lnTo>
                    <a:pt x="1655205" y="84948"/>
                  </a:lnTo>
                  <a:lnTo>
                    <a:pt x="1621410" y="55959"/>
                  </a:lnTo>
                  <a:lnTo>
                    <a:pt x="1583407" y="32372"/>
                  </a:lnTo>
                  <a:lnTo>
                    <a:pt x="1541794" y="14785"/>
                  </a:lnTo>
                  <a:lnTo>
                    <a:pt x="1497166" y="3796"/>
                  </a:lnTo>
                  <a:lnTo>
                    <a:pt x="1450121" y="0"/>
                  </a:lnTo>
                  <a:close/>
                </a:path>
              </a:pathLst>
            </a:custGeom>
            <a:solidFill>
              <a:srgbClr val="49BF6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6113100" y="3495927"/>
              <a:ext cx="1740535" cy="1740535"/>
            </a:xfrm>
            <a:custGeom>
              <a:avLst/>
              <a:gdLst/>
              <a:ahLst/>
              <a:cxnLst/>
              <a:rect l="l" t="t" r="r" b="b"/>
              <a:pathLst>
                <a:path w="1740534" h="1740535">
                  <a:moveTo>
                    <a:pt x="0" y="290031"/>
                  </a:moveTo>
                  <a:lnTo>
                    <a:pt x="3796" y="242986"/>
                  </a:lnTo>
                  <a:lnTo>
                    <a:pt x="14785" y="198358"/>
                  </a:lnTo>
                  <a:lnTo>
                    <a:pt x="32372" y="156745"/>
                  </a:lnTo>
                  <a:lnTo>
                    <a:pt x="55959" y="118742"/>
                  </a:lnTo>
                  <a:lnTo>
                    <a:pt x="84948" y="84948"/>
                  </a:lnTo>
                  <a:lnTo>
                    <a:pt x="118742" y="55959"/>
                  </a:lnTo>
                  <a:lnTo>
                    <a:pt x="156745" y="32372"/>
                  </a:lnTo>
                  <a:lnTo>
                    <a:pt x="198358" y="14785"/>
                  </a:lnTo>
                  <a:lnTo>
                    <a:pt x="242986" y="3796"/>
                  </a:lnTo>
                  <a:lnTo>
                    <a:pt x="290031" y="0"/>
                  </a:lnTo>
                  <a:lnTo>
                    <a:pt x="1450122" y="0"/>
                  </a:lnTo>
                  <a:lnTo>
                    <a:pt x="1497166" y="3796"/>
                  </a:lnTo>
                  <a:lnTo>
                    <a:pt x="1541794" y="14785"/>
                  </a:lnTo>
                  <a:lnTo>
                    <a:pt x="1583408" y="32372"/>
                  </a:lnTo>
                  <a:lnTo>
                    <a:pt x="1621410" y="55959"/>
                  </a:lnTo>
                  <a:lnTo>
                    <a:pt x="1655205" y="84948"/>
                  </a:lnTo>
                  <a:lnTo>
                    <a:pt x="1684193" y="118742"/>
                  </a:lnTo>
                  <a:lnTo>
                    <a:pt x="1707780" y="156745"/>
                  </a:lnTo>
                  <a:lnTo>
                    <a:pt x="1725367" y="198358"/>
                  </a:lnTo>
                  <a:lnTo>
                    <a:pt x="1736357" y="242986"/>
                  </a:lnTo>
                  <a:lnTo>
                    <a:pt x="1740153" y="290031"/>
                  </a:lnTo>
                  <a:lnTo>
                    <a:pt x="1740153" y="1450120"/>
                  </a:lnTo>
                  <a:lnTo>
                    <a:pt x="1736357" y="1497164"/>
                  </a:lnTo>
                  <a:lnTo>
                    <a:pt x="1725367" y="1541792"/>
                  </a:lnTo>
                  <a:lnTo>
                    <a:pt x="1707780" y="1583406"/>
                  </a:lnTo>
                  <a:lnTo>
                    <a:pt x="1684193" y="1621408"/>
                  </a:lnTo>
                  <a:lnTo>
                    <a:pt x="1655205" y="1655203"/>
                  </a:lnTo>
                  <a:lnTo>
                    <a:pt x="1621410" y="1684191"/>
                  </a:lnTo>
                  <a:lnTo>
                    <a:pt x="1583408" y="1707778"/>
                  </a:lnTo>
                  <a:lnTo>
                    <a:pt x="1541794" y="1725365"/>
                  </a:lnTo>
                  <a:lnTo>
                    <a:pt x="1497166" y="1736355"/>
                  </a:lnTo>
                  <a:lnTo>
                    <a:pt x="1450122" y="1740151"/>
                  </a:lnTo>
                  <a:lnTo>
                    <a:pt x="290031" y="1740151"/>
                  </a:lnTo>
                  <a:lnTo>
                    <a:pt x="242986" y="1736355"/>
                  </a:lnTo>
                  <a:lnTo>
                    <a:pt x="198358" y="1725365"/>
                  </a:lnTo>
                  <a:lnTo>
                    <a:pt x="156745" y="1707778"/>
                  </a:lnTo>
                  <a:lnTo>
                    <a:pt x="118742" y="1684191"/>
                  </a:lnTo>
                  <a:lnTo>
                    <a:pt x="84948" y="1655203"/>
                  </a:lnTo>
                  <a:lnTo>
                    <a:pt x="55959" y="1621408"/>
                  </a:lnTo>
                  <a:lnTo>
                    <a:pt x="32372" y="1583406"/>
                  </a:lnTo>
                  <a:lnTo>
                    <a:pt x="14785" y="1541792"/>
                  </a:lnTo>
                  <a:lnTo>
                    <a:pt x="3796" y="1497164"/>
                  </a:lnTo>
                  <a:lnTo>
                    <a:pt x="0" y="1450120"/>
                  </a:lnTo>
                  <a:lnTo>
                    <a:pt x="0" y="290031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6275787" y="3862832"/>
            <a:ext cx="1415415" cy="942975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2065" marR="5080" indent="-635" algn="ctr">
              <a:lnSpc>
                <a:spcPct val="93300"/>
              </a:lnSpc>
              <a:spcBef>
                <a:spcPts val="265"/>
              </a:spcBef>
            </a:pPr>
            <a:r>
              <a:rPr sz="2100" spc="-10" dirty="0">
                <a:solidFill>
                  <a:srgbClr val="FFFFFF"/>
                </a:solidFill>
                <a:latin typeface="Calibri"/>
                <a:cs typeface="Calibri"/>
              </a:rPr>
              <a:t>Maternal </a:t>
            </a:r>
            <a:r>
              <a:rPr sz="2100" dirty="0">
                <a:solidFill>
                  <a:srgbClr val="FFFFFF"/>
                </a:solidFill>
                <a:latin typeface="Calibri"/>
                <a:cs typeface="Calibri"/>
              </a:rPr>
              <a:t>Child</a:t>
            </a:r>
            <a:r>
              <a:rPr sz="2100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100" spc="-10" dirty="0">
                <a:solidFill>
                  <a:srgbClr val="FFFFFF"/>
                </a:solidFill>
                <a:latin typeface="Calibri"/>
                <a:cs typeface="Calibri"/>
              </a:rPr>
              <a:t>Health </a:t>
            </a:r>
            <a:r>
              <a:rPr sz="2100" spc="-20" dirty="0">
                <a:solidFill>
                  <a:srgbClr val="FFFFFF"/>
                </a:solidFill>
                <a:latin typeface="Calibri"/>
                <a:cs typeface="Calibri"/>
              </a:rPr>
              <a:t>Stakeholders</a:t>
            </a:r>
            <a:endParaRPr sz="2100" dirty="0">
              <a:latin typeface="Calibri"/>
              <a:cs typeface="Calibri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7980762" y="3489577"/>
            <a:ext cx="1753235" cy="1753235"/>
            <a:chOff x="7980762" y="3489577"/>
            <a:chExt cx="1753235" cy="1753235"/>
          </a:xfrm>
        </p:grpSpPr>
        <p:sp>
          <p:nvSpPr>
            <p:cNvPr id="17" name="object 17"/>
            <p:cNvSpPr/>
            <p:nvPr/>
          </p:nvSpPr>
          <p:spPr>
            <a:xfrm>
              <a:off x="7987112" y="3495927"/>
              <a:ext cx="1740535" cy="1740535"/>
            </a:xfrm>
            <a:custGeom>
              <a:avLst/>
              <a:gdLst/>
              <a:ahLst/>
              <a:cxnLst/>
              <a:rect l="l" t="t" r="r" b="b"/>
              <a:pathLst>
                <a:path w="1740534" h="1740535">
                  <a:moveTo>
                    <a:pt x="1450121" y="0"/>
                  </a:moveTo>
                  <a:lnTo>
                    <a:pt x="290031" y="0"/>
                  </a:lnTo>
                  <a:lnTo>
                    <a:pt x="242986" y="3796"/>
                  </a:lnTo>
                  <a:lnTo>
                    <a:pt x="198358" y="14785"/>
                  </a:lnTo>
                  <a:lnTo>
                    <a:pt x="156745" y="32372"/>
                  </a:lnTo>
                  <a:lnTo>
                    <a:pt x="118742" y="55959"/>
                  </a:lnTo>
                  <a:lnTo>
                    <a:pt x="84948" y="84948"/>
                  </a:lnTo>
                  <a:lnTo>
                    <a:pt x="55959" y="118742"/>
                  </a:lnTo>
                  <a:lnTo>
                    <a:pt x="32372" y="156745"/>
                  </a:lnTo>
                  <a:lnTo>
                    <a:pt x="14785" y="198358"/>
                  </a:lnTo>
                  <a:lnTo>
                    <a:pt x="3796" y="242986"/>
                  </a:lnTo>
                  <a:lnTo>
                    <a:pt x="0" y="290031"/>
                  </a:lnTo>
                  <a:lnTo>
                    <a:pt x="0" y="1450120"/>
                  </a:lnTo>
                  <a:lnTo>
                    <a:pt x="3796" y="1497164"/>
                  </a:lnTo>
                  <a:lnTo>
                    <a:pt x="14785" y="1541792"/>
                  </a:lnTo>
                  <a:lnTo>
                    <a:pt x="32372" y="1583406"/>
                  </a:lnTo>
                  <a:lnTo>
                    <a:pt x="55959" y="1621409"/>
                  </a:lnTo>
                  <a:lnTo>
                    <a:pt x="84948" y="1655203"/>
                  </a:lnTo>
                  <a:lnTo>
                    <a:pt x="118742" y="1684192"/>
                  </a:lnTo>
                  <a:lnTo>
                    <a:pt x="156745" y="1707778"/>
                  </a:lnTo>
                  <a:lnTo>
                    <a:pt x="198358" y="1725365"/>
                  </a:lnTo>
                  <a:lnTo>
                    <a:pt x="242986" y="1736355"/>
                  </a:lnTo>
                  <a:lnTo>
                    <a:pt x="290031" y="1740151"/>
                  </a:lnTo>
                  <a:lnTo>
                    <a:pt x="1450121" y="1740151"/>
                  </a:lnTo>
                  <a:lnTo>
                    <a:pt x="1497166" y="1736355"/>
                  </a:lnTo>
                  <a:lnTo>
                    <a:pt x="1541793" y="1725365"/>
                  </a:lnTo>
                  <a:lnTo>
                    <a:pt x="1583407" y="1707778"/>
                  </a:lnTo>
                  <a:lnTo>
                    <a:pt x="1621410" y="1684192"/>
                  </a:lnTo>
                  <a:lnTo>
                    <a:pt x="1655204" y="1655203"/>
                  </a:lnTo>
                  <a:lnTo>
                    <a:pt x="1684193" y="1621409"/>
                  </a:lnTo>
                  <a:lnTo>
                    <a:pt x="1707780" y="1583406"/>
                  </a:lnTo>
                  <a:lnTo>
                    <a:pt x="1725366" y="1541792"/>
                  </a:lnTo>
                  <a:lnTo>
                    <a:pt x="1736356" y="1497164"/>
                  </a:lnTo>
                  <a:lnTo>
                    <a:pt x="1740152" y="1450120"/>
                  </a:lnTo>
                  <a:lnTo>
                    <a:pt x="1740152" y="290031"/>
                  </a:lnTo>
                  <a:lnTo>
                    <a:pt x="1736356" y="242986"/>
                  </a:lnTo>
                  <a:lnTo>
                    <a:pt x="1725366" y="198358"/>
                  </a:lnTo>
                  <a:lnTo>
                    <a:pt x="1707780" y="156745"/>
                  </a:lnTo>
                  <a:lnTo>
                    <a:pt x="1684193" y="118742"/>
                  </a:lnTo>
                  <a:lnTo>
                    <a:pt x="1655204" y="84948"/>
                  </a:lnTo>
                  <a:lnTo>
                    <a:pt x="1621410" y="55959"/>
                  </a:lnTo>
                  <a:lnTo>
                    <a:pt x="1583407" y="32372"/>
                  </a:lnTo>
                  <a:lnTo>
                    <a:pt x="1541793" y="14785"/>
                  </a:lnTo>
                  <a:lnTo>
                    <a:pt x="1497166" y="3796"/>
                  </a:lnTo>
                  <a:lnTo>
                    <a:pt x="1450121" y="0"/>
                  </a:lnTo>
                  <a:close/>
                </a:path>
              </a:pathLst>
            </a:custGeom>
            <a:solidFill>
              <a:srgbClr val="70AD4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7987112" y="3495927"/>
              <a:ext cx="1740535" cy="1740535"/>
            </a:xfrm>
            <a:custGeom>
              <a:avLst/>
              <a:gdLst/>
              <a:ahLst/>
              <a:cxnLst/>
              <a:rect l="l" t="t" r="r" b="b"/>
              <a:pathLst>
                <a:path w="1740534" h="1740535">
                  <a:moveTo>
                    <a:pt x="0" y="290031"/>
                  </a:moveTo>
                  <a:lnTo>
                    <a:pt x="3796" y="242986"/>
                  </a:lnTo>
                  <a:lnTo>
                    <a:pt x="14785" y="198358"/>
                  </a:lnTo>
                  <a:lnTo>
                    <a:pt x="32372" y="156745"/>
                  </a:lnTo>
                  <a:lnTo>
                    <a:pt x="55959" y="118742"/>
                  </a:lnTo>
                  <a:lnTo>
                    <a:pt x="84948" y="84948"/>
                  </a:lnTo>
                  <a:lnTo>
                    <a:pt x="118742" y="55959"/>
                  </a:lnTo>
                  <a:lnTo>
                    <a:pt x="156745" y="32372"/>
                  </a:lnTo>
                  <a:lnTo>
                    <a:pt x="198358" y="14785"/>
                  </a:lnTo>
                  <a:lnTo>
                    <a:pt x="242986" y="3796"/>
                  </a:lnTo>
                  <a:lnTo>
                    <a:pt x="290031" y="0"/>
                  </a:lnTo>
                  <a:lnTo>
                    <a:pt x="1450122" y="0"/>
                  </a:lnTo>
                  <a:lnTo>
                    <a:pt x="1497166" y="3796"/>
                  </a:lnTo>
                  <a:lnTo>
                    <a:pt x="1541794" y="14785"/>
                  </a:lnTo>
                  <a:lnTo>
                    <a:pt x="1583408" y="32372"/>
                  </a:lnTo>
                  <a:lnTo>
                    <a:pt x="1621410" y="55959"/>
                  </a:lnTo>
                  <a:lnTo>
                    <a:pt x="1655205" y="84948"/>
                  </a:lnTo>
                  <a:lnTo>
                    <a:pt x="1684193" y="118742"/>
                  </a:lnTo>
                  <a:lnTo>
                    <a:pt x="1707780" y="156745"/>
                  </a:lnTo>
                  <a:lnTo>
                    <a:pt x="1725367" y="198358"/>
                  </a:lnTo>
                  <a:lnTo>
                    <a:pt x="1736357" y="242986"/>
                  </a:lnTo>
                  <a:lnTo>
                    <a:pt x="1740153" y="290031"/>
                  </a:lnTo>
                  <a:lnTo>
                    <a:pt x="1740153" y="1450120"/>
                  </a:lnTo>
                  <a:lnTo>
                    <a:pt x="1736357" y="1497164"/>
                  </a:lnTo>
                  <a:lnTo>
                    <a:pt x="1725367" y="1541792"/>
                  </a:lnTo>
                  <a:lnTo>
                    <a:pt x="1707780" y="1583406"/>
                  </a:lnTo>
                  <a:lnTo>
                    <a:pt x="1684193" y="1621408"/>
                  </a:lnTo>
                  <a:lnTo>
                    <a:pt x="1655205" y="1655203"/>
                  </a:lnTo>
                  <a:lnTo>
                    <a:pt x="1621410" y="1684191"/>
                  </a:lnTo>
                  <a:lnTo>
                    <a:pt x="1583408" y="1707778"/>
                  </a:lnTo>
                  <a:lnTo>
                    <a:pt x="1541794" y="1725365"/>
                  </a:lnTo>
                  <a:lnTo>
                    <a:pt x="1497166" y="1736355"/>
                  </a:lnTo>
                  <a:lnTo>
                    <a:pt x="1450122" y="1740151"/>
                  </a:lnTo>
                  <a:lnTo>
                    <a:pt x="290031" y="1740151"/>
                  </a:lnTo>
                  <a:lnTo>
                    <a:pt x="242986" y="1736355"/>
                  </a:lnTo>
                  <a:lnTo>
                    <a:pt x="198358" y="1725365"/>
                  </a:lnTo>
                  <a:lnTo>
                    <a:pt x="156745" y="1707778"/>
                  </a:lnTo>
                  <a:lnTo>
                    <a:pt x="118742" y="1684191"/>
                  </a:lnTo>
                  <a:lnTo>
                    <a:pt x="84948" y="1655203"/>
                  </a:lnTo>
                  <a:lnTo>
                    <a:pt x="55959" y="1621408"/>
                  </a:lnTo>
                  <a:lnTo>
                    <a:pt x="32372" y="1583406"/>
                  </a:lnTo>
                  <a:lnTo>
                    <a:pt x="14785" y="1541792"/>
                  </a:lnTo>
                  <a:lnTo>
                    <a:pt x="3796" y="1497164"/>
                  </a:lnTo>
                  <a:lnTo>
                    <a:pt x="0" y="1450120"/>
                  </a:lnTo>
                  <a:lnTo>
                    <a:pt x="0" y="290031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8255366" y="3862832"/>
            <a:ext cx="1203960" cy="9429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ts val="2410"/>
              </a:lnSpc>
              <a:spcBef>
                <a:spcPts val="100"/>
              </a:spcBef>
            </a:pPr>
            <a:r>
              <a:rPr sz="2100" spc="-20">
                <a:solidFill>
                  <a:srgbClr val="FFFFFF"/>
                </a:solidFill>
                <a:latin typeface="Calibri"/>
                <a:cs typeface="Calibri"/>
              </a:rPr>
              <a:t>SUID</a:t>
            </a:r>
            <a:endParaRPr sz="2100">
              <a:latin typeface="Calibri"/>
              <a:cs typeface="Calibri"/>
            </a:endParaRPr>
          </a:p>
          <a:p>
            <a:pPr marL="12065" marR="5080" algn="ctr">
              <a:lnSpc>
                <a:spcPts val="2400"/>
              </a:lnSpc>
              <a:spcBef>
                <a:spcPts val="70"/>
              </a:spcBef>
            </a:pPr>
            <a:r>
              <a:rPr sz="2100" spc="-20">
                <a:solidFill>
                  <a:srgbClr val="FFFFFF"/>
                </a:solidFill>
                <a:latin typeface="Calibri"/>
                <a:cs typeface="Calibri"/>
              </a:rPr>
              <a:t>Prevention </a:t>
            </a:r>
            <a:r>
              <a:rPr sz="2100" spc="-10">
                <a:solidFill>
                  <a:srgbClr val="FFFFFF"/>
                </a:solidFill>
                <a:latin typeface="Calibri"/>
                <a:cs typeface="Calibri"/>
              </a:rPr>
              <a:t>Advocates</a:t>
            </a:r>
            <a:endParaRPr sz="2100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997106" y="705611"/>
            <a:ext cx="2357120" cy="130074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107314">
              <a:lnSpc>
                <a:spcPct val="101400"/>
              </a:lnSpc>
              <a:spcBef>
                <a:spcPts val="75"/>
              </a:spcBef>
            </a:pPr>
            <a:r>
              <a:rPr sz="1400" dirty="0">
                <a:latin typeface="Calibri"/>
                <a:cs typeface="Calibri"/>
              </a:rPr>
              <a:t>CDPH</a:t>
            </a:r>
            <a:r>
              <a:rPr sz="1400" spc="-6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Family</a:t>
            </a:r>
            <a:r>
              <a:rPr sz="1400" spc="-5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Connects</a:t>
            </a:r>
            <a:r>
              <a:rPr sz="1400" spc="-6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Chicago </a:t>
            </a:r>
            <a:r>
              <a:rPr sz="1400" dirty="0">
                <a:latin typeface="Calibri"/>
                <a:cs typeface="Calibri"/>
              </a:rPr>
              <a:t>CDPH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C3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Conference</a:t>
            </a:r>
            <a:endParaRPr sz="1400" dirty="0">
              <a:latin typeface="Calibri"/>
              <a:cs typeface="Calibri"/>
            </a:endParaRPr>
          </a:p>
          <a:p>
            <a:pPr marL="12700" marR="854710">
              <a:lnSpc>
                <a:spcPct val="101400"/>
              </a:lnSpc>
            </a:pPr>
            <a:r>
              <a:rPr sz="1400" dirty="0">
                <a:latin typeface="Calibri"/>
                <a:cs typeface="Calibri"/>
              </a:rPr>
              <a:t>Chicago</a:t>
            </a:r>
            <a:r>
              <a:rPr sz="1400" spc="-6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Health</a:t>
            </a:r>
            <a:r>
              <a:rPr sz="1400" spc="-50" dirty="0">
                <a:latin typeface="Calibri"/>
                <a:cs typeface="Calibri"/>
              </a:rPr>
              <a:t> </a:t>
            </a:r>
            <a:r>
              <a:rPr sz="1400" spc="-20" dirty="0">
                <a:latin typeface="Calibri"/>
                <a:cs typeface="Calibri"/>
              </a:rPr>
              <a:t>Atlas </a:t>
            </a:r>
            <a:r>
              <a:rPr sz="1400" dirty="0">
                <a:latin typeface="Calibri"/>
                <a:cs typeface="Calibri"/>
              </a:rPr>
              <a:t>CCDPH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spc="-20" dirty="0">
                <a:latin typeface="Calibri"/>
                <a:cs typeface="Calibri"/>
              </a:rPr>
              <a:t>APORS</a:t>
            </a:r>
            <a:endParaRPr sz="1400" dirty="0">
              <a:latin typeface="Calibri"/>
              <a:cs typeface="Calibri"/>
            </a:endParaRPr>
          </a:p>
          <a:p>
            <a:pPr marL="12700">
              <a:lnSpc>
                <a:spcPts val="1585"/>
              </a:lnSpc>
            </a:pPr>
            <a:r>
              <a:rPr sz="1400" dirty="0">
                <a:latin typeface="Calibri"/>
                <a:cs typeface="Calibri"/>
              </a:rPr>
              <a:t>IDPH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spc="-25" dirty="0">
                <a:latin typeface="Calibri"/>
                <a:cs typeface="Calibri"/>
              </a:rPr>
              <a:t>OWH</a:t>
            </a:r>
            <a:endParaRPr sz="14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400" spc="-10" dirty="0">
                <a:latin typeface="Calibri"/>
                <a:cs typeface="Calibri"/>
              </a:rPr>
              <a:t>ILPQC</a:t>
            </a:r>
            <a:endParaRPr lang="en-US" sz="1400" dirty="0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8740142" y="486155"/>
            <a:ext cx="2149475" cy="173863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859790" marR="5080" indent="250190" algn="r">
              <a:lnSpc>
                <a:spcPct val="101400"/>
              </a:lnSpc>
              <a:spcBef>
                <a:spcPts val="75"/>
              </a:spcBef>
            </a:pPr>
            <a:r>
              <a:rPr sz="1400" dirty="0">
                <a:latin typeface="Calibri"/>
                <a:cs typeface="Calibri"/>
              </a:rPr>
              <a:t>DHS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Webinars </a:t>
            </a:r>
            <a:r>
              <a:rPr sz="1400" dirty="0">
                <a:latin typeface="Calibri"/>
                <a:cs typeface="Calibri"/>
              </a:rPr>
              <a:t>MIECHV</a:t>
            </a:r>
            <a:r>
              <a:rPr sz="1400" spc="-6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CI-Cicero </a:t>
            </a:r>
            <a:r>
              <a:rPr sz="1400" dirty="0">
                <a:latin typeface="Calibri"/>
                <a:cs typeface="Calibri"/>
              </a:rPr>
              <a:t>FHQC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Networks</a:t>
            </a:r>
            <a:endParaRPr sz="1400" dirty="0">
              <a:latin typeface="Calibri"/>
              <a:cs typeface="Calibri"/>
            </a:endParaRPr>
          </a:p>
          <a:p>
            <a:pPr marL="12700" marR="5080" indent="226060" algn="r">
              <a:lnSpc>
                <a:spcPts val="1580"/>
              </a:lnSpc>
              <a:spcBef>
                <a:spcPts val="160"/>
              </a:spcBef>
            </a:pPr>
            <a:r>
              <a:rPr sz="1400" dirty="0">
                <a:latin typeface="Calibri"/>
                <a:cs typeface="Calibri"/>
              </a:rPr>
              <a:t>Child</a:t>
            </a:r>
            <a:r>
              <a:rPr sz="1400" spc="-5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Death</a:t>
            </a:r>
            <a:r>
              <a:rPr sz="1400" spc="-5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Review</a:t>
            </a:r>
            <a:r>
              <a:rPr sz="1400" spc="-50" dirty="0">
                <a:latin typeface="Calibri"/>
                <a:cs typeface="Calibri"/>
              </a:rPr>
              <a:t> </a:t>
            </a:r>
            <a:r>
              <a:rPr sz="1400" spc="-20" dirty="0">
                <a:latin typeface="Calibri"/>
                <a:cs typeface="Calibri"/>
              </a:rPr>
              <a:t>Teams </a:t>
            </a:r>
            <a:r>
              <a:rPr sz="1400" spc="-10" dirty="0">
                <a:latin typeface="Calibri"/>
                <a:cs typeface="Calibri"/>
              </a:rPr>
              <a:t>Pediatric Residency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Programs</a:t>
            </a:r>
            <a:endParaRPr sz="1400" dirty="0">
              <a:latin typeface="Calibri"/>
              <a:cs typeface="Calibri"/>
            </a:endParaRPr>
          </a:p>
          <a:p>
            <a:pPr marR="5080" algn="r">
              <a:lnSpc>
                <a:spcPts val="1670"/>
              </a:lnSpc>
            </a:pPr>
            <a:r>
              <a:rPr sz="1400" dirty="0">
                <a:latin typeface="Calibri"/>
                <a:cs typeface="Calibri"/>
              </a:rPr>
              <a:t>Grand</a:t>
            </a:r>
            <a:r>
              <a:rPr sz="1400" spc="-7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Rounds</a:t>
            </a:r>
            <a:endParaRPr sz="1400" dirty="0">
              <a:latin typeface="Calibri"/>
              <a:cs typeface="Calibri"/>
            </a:endParaRPr>
          </a:p>
          <a:p>
            <a:pPr marR="5080" algn="r">
              <a:lnSpc>
                <a:spcPct val="100000"/>
              </a:lnSpc>
              <a:spcBef>
                <a:spcPts val="25"/>
              </a:spcBef>
            </a:pPr>
            <a:r>
              <a:rPr sz="1400" spc="-10" dirty="0">
                <a:latin typeface="Calibri"/>
                <a:cs typeface="Calibri"/>
              </a:rPr>
              <a:t>CH</a:t>
            </a:r>
            <a:r>
              <a:rPr lang="en-US" sz="1400" spc="-10" dirty="0">
                <a:latin typeface="Calibri"/>
                <a:cs typeface="Calibri"/>
              </a:rPr>
              <a:t>H</a:t>
            </a:r>
            <a:r>
              <a:rPr sz="1400" spc="-10" dirty="0">
                <a:latin typeface="Calibri"/>
                <a:cs typeface="Calibri"/>
              </a:rPr>
              <a:t>RGE</a:t>
            </a:r>
            <a:endParaRPr sz="1400" dirty="0">
              <a:latin typeface="Calibri"/>
              <a:cs typeface="Calibri"/>
            </a:endParaRPr>
          </a:p>
          <a:p>
            <a:pPr marR="5715" algn="r">
              <a:lnSpc>
                <a:spcPct val="100000"/>
              </a:lnSpc>
              <a:spcBef>
                <a:spcPts val="25"/>
              </a:spcBef>
            </a:pPr>
            <a:r>
              <a:rPr sz="1400" dirty="0">
                <a:latin typeface="Calibri"/>
                <a:cs typeface="Calibri"/>
              </a:rPr>
              <a:t>CHW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Teams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9979916" y="2202179"/>
            <a:ext cx="909955" cy="440055"/>
          </a:xfrm>
          <a:prstGeom prst="rect">
            <a:avLst/>
          </a:prstGeom>
        </p:spPr>
        <p:txBody>
          <a:bodyPr vert="horz" wrap="square" lIns="0" tIns="29845" rIns="0" bIns="0" rtlCol="0">
            <a:spAutoFit/>
          </a:bodyPr>
          <a:lstStyle/>
          <a:p>
            <a:pPr marL="12700" marR="5080" indent="102235">
              <a:lnSpc>
                <a:spcPts val="1580"/>
              </a:lnSpc>
              <a:spcBef>
                <a:spcPts val="235"/>
              </a:spcBef>
            </a:pPr>
            <a:r>
              <a:rPr sz="1400">
                <a:latin typeface="Calibri"/>
                <a:cs typeface="Calibri"/>
              </a:rPr>
              <a:t>CBP</a:t>
            </a:r>
            <a:r>
              <a:rPr sz="1400" spc="-30">
                <a:latin typeface="Calibri"/>
                <a:cs typeface="Calibri"/>
              </a:rPr>
              <a:t> </a:t>
            </a:r>
            <a:r>
              <a:rPr sz="1400" spc="-35">
                <a:latin typeface="Calibri"/>
                <a:cs typeface="Calibri"/>
              </a:rPr>
              <a:t>Teams </a:t>
            </a:r>
            <a:r>
              <a:rPr sz="1400">
                <a:latin typeface="Calibri"/>
                <a:cs typeface="Calibri"/>
              </a:rPr>
              <a:t>Shelter</a:t>
            </a:r>
            <a:r>
              <a:rPr sz="1400" spc="-60">
                <a:latin typeface="Calibri"/>
                <a:cs typeface="Calibri"/>
              </a:rPr>
              <a:t> </a:t>
            </a:r>
            <a:r>
              <a:rPr sz="1400" spc="-10">
                <a:latin typeface="Calibri"/>
                <a:cs typeface="Calibri"/>
              </a:rPr>
              <a:t>Staff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997104" y="5061203"/>
            <a:ext cx="2721610" cy="17386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10" dirty="0" err="1">
                <a:latin typeface="Calibri"/>
                <a:cs typeface="Calibri"/>
              </a:rPr>
              <a:t>Everthrive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spc="-25" dirty="0">
                <a:latin typeface="Calibri"/>
                <a:cs typeface="Calibri"/>
              </a:rPr>
              <a:t>IL</a:t>
            </a:r>
            <a:endParaRPr sz="1400" dirty="0">
              <a:latin typeface="Calibri"/>
              <a:cs typeface="Calibri"/>
            </a:endParaRPr>
          </a:p>
          <a:p>
            <a:pPr marL="12700" marR="274320">
              <a:lnSpc>
                <a:spcPct val="99600"/>
              </a:lnSpc>
              <a:spcBef>
                <a:spcPts val="30"/>
              </a:spcBef>
            </a:pPr>
            <a:r>
              <a:rPr sz="1400" dirty="0">
                <a:latin typeface="Calibri"/>
                <a:cs typeface="Calibri"/>
              </a:rPr>
              <a:t>March</a:t>
            </a:r>
            <a:r>
              <a:rPr sz="1400" spc="-5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of</a:t>
            </a:r>
            <a:r>
              <a:rPr sz="1400" spc="-5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Dimes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Collective</a:t>
            </a:r>
            <a:r>
              <a:rPr sz="1400" spc="-5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Impact </a:t>
            </a:r>
            <a:r>
              <a:rPr sz="1400" dirty="0">
                <a:latin typeface="Calibri"/>
                <a:cs typeface="Calibri"/>
              </a:rPr>
              <a:t>Home</a:t>
            </a:r>
            <a:r>
              <a:rPr sz="1400" spc="-4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Visiting/Doula</a:t>
            </a:r>
            <a:r>
              <a:rPr sz="1400" spc="-4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Network </a:t>
            </a:r>
            <a:r>
              <a:rPr sz="1400" dirty="0">
                <a:latin typeface="Calibri"/>
                <a:cs typeface="Calibri"/>
              </a:rPr>
              <a:t>Chicago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spc="-10" dirty="0" err="1">
                <a:latin typeface="Calibri"/>
                <a:cs typeface="Calibri"/>
              </a:rPr>
              <a:t>Birthworks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Collective </a:t>
            </a:r>
            <a:r>
              <a:rPr sz="1400" dirty="0">
                <a:latin typeface="Calibri"/>
                <a:cs typeface="Calibri"/>
              </a:rPr>
              <a:t>Sinai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Community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Institute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spc="-20" dirty="0">
                <a:latin typeface="Calibri"/>
                <a:cs typeface="Calibri"/>
              </a:rPr>
              <a:t>OCCN </a:t>
            </a:r>
            <a:r>
              <a:rPr sz="1400" dirty="0">
                <a:latin typeface="Calibri"/>
                <a:cs typeface="Calibri"/>
              </a:rPr>
              <a:t>Illinois</a:t>
            </a:r>
            <a:r>
              <a:rPr sz="1400" spc="-5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Action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for</a:t>
            </a:r>
            <a:r>
              <a:rPr sz="1400" spc="-5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Children</a:t>
            </a:r>
            <a:endParaRPr sz="1400" dirty="0">
              <a:latin typeface="Calibri"/>
              <a:cs typeface="Calibri"/>
            </a:endParaRPr>
          </a:p>
          <a:p>
            <a:pPr marL="12700" marR="5080">
              <a:lnSpc>
                <a:spcPct val="101400"/>
              </a:lnSpc>
            </a:pPr>
            <a:r>
              <a:rPr sz="1400" dirty="0">
                <a:latin typeface="Calibri"/>
                <a:cs typeface="Calibri"/>
              </a:rPr>
              <a:t>Erikson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Institute/Fussy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Baby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Network BRIDGES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8772875" y="4835652"/>
            <a:ext cx="2149474" cy="128868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076325" marR="5080" indent="22860" algn="r">
              <a:lnSpc>
                <a:spcPct val="101400"/>
              </a:lnSpc>
              <a:spcBef>
                <a:spcPts val="75"/>
              </a:spcBef>
            </a:pPr>
            <a:r>
              <a:rPr sz="1400" dirty="0">
                <a:latin typeface="Calibri"/>
                <a:cs typeface="Calibri"/>
              </a:rPr>
              <a:t>CDC</a:t>
            </a:r>
            <a:r>
              <a:rPr lang="en-US" sz="1400" spc="-30" dirty="0">
                <a:latin typeface="Calibri"/>
                <a:cs typeface="Calibri"/>
              </a:rPr>
              <a:t> </a:t>
            </a:r>
          </a:p>
          <a:p>
            <a:pPr marL="1076325" marR="5080" indent="22860" algn="r">
              <a:lnSpc>
                <a:spcPct val="101400"/>
              </a:lnSpc>
              <a:spcBef>
                <a:spcPts val="75"/>
              </a:spcBef>
            </a:pPr>
            <a:r>
              <a:rPr sz="1400" dirty="0">
                <a:latin typeface="Calibri"/>
                <a:cs typeface="Calibri"/>
              </a:rPr>
              <a:t>FIMR</a:t>
            </a:r>
            <a:r>
              <a:rPr lang="en-US" sz="140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Chicago</a:t>
            </a:r>
            <a:endParaRPr sz="1400" dirty="0">
              <a:latin typeface="Calibri"/>
              <a:cs typeface="Calibri"/>
            </a:endParaRPr>
          </a:p>
          <a:p>
            <a:pPr marR="5715" algn="r">
              <a:lnSpc>
                <a:spcPct val="100000"/>
              </a:lnSpc>
              <a:spcBef>
                <a:spcPts val="25"/>
              </a:spcBef>
            </a:pPr>
            <a:r>
              <a:rPr sz="1400" dirty="0">
                <a:latin typeface="Calibri"/>
                <a:cs typeface="Calibri"/>
              </a:rPr>
              <a:t>Injury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Free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Coalition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for</a:t>
            </a:r>
            <a:r>
              <a:rPr sz="1400" spc="-50" dirty="0">
                <a:latin typeface="Calibri"/>
                <a:cs typeface="Calibri"/>
              </a:rPr>
              <a:t> </a:t>
            </a:r>
            <a:r>
              <a:rPr sz="1400" spc="-20" dirty="0">
                <a:latin typeface="Calibri"/>
                <a:cs typeface="Calibri"/>
              </a:rPr>
              <a:t>Kids</a:t>
            </a:r>
            <a:endParaRPr sz="1400" dirty="0">
              <a:latin typeface="Calibri"/>
              <a:cs typeface="Calibri"/>
            </a:endParaRPr>
          </a:p>
          <a:p>
            <a:pPr marR="5715" algn="r">
              <a:lnSpc>
                <a:spcPts val="1630"/>
              </a:lnSpc>
              <a:spcBef>
                <a:spcPts val="25"/>
              </a:spcBef>
            </a:pPr>
            <a:r>
              <a:rPr sz="1400" spc="-10" dirty="0" err="1">
                <a:latin typeface="Calibri"/>
                <a:cs typeface="Calibri"/>
              </a:rPr>
              <a:t>Prevcon</a:t>
            </a:r>
            <a:endParaRPr sz="1400" dirty="0">
              <a:latin typeface="Calibri"/>
              <a:cs typeface="Calibri"/>
            </a:endParaRPr>
          </a:p>
          <a:p>
            <a:pPr marR="5715" algn="r">
              <a:lnSpc>
                <a:spcPts val="1630"/>
              </a:lnSpc>
            </a:pPr>
            <a:r>
              <a:rPr sz="1400" spc="-20" dirty="0">
                <a:latin typeface="Calibri"/>
                <a:cs typeface="Calibri"/>
              </a:rPr>
              <a:t>ISPID</a:t>
            </a:r>
            <a:endParaRPr lang="en-US" sz="1400" spc="-20" dirty="0">
              <a:latin typeface="Calibri"/>
              <a:cs typeface="Calibri"/>
            </a:endParaRPr>
          </a:p>
          <a:p>
            <a:pPr marR="5715" algn="r">
              <a:lnSpc>
                <a:spcPts val="1630"/>
              </a:lnSpc>
            </a:pPr>
            <a:r>
              <a:rPr lang="en-US" sz="1400" spc="-20" dirty="0">
                <a:latin typeface="Calibri"/>
                <a:cs typeface="Calibri"/>
              </a:rPr>
              <a:t>ICAAP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33657" y="744219"/>
            <a:ext cx="3905885" cy="690245"/>
          </a:xfrm>
          <a:prstGeom prst="rect">
            <a:avLst/>
          </a:prstGeom>
        </p:spPr>
        <p:txBody>
          <a:bodyPr vert="horz" wrap="square" lIns="0" tIns="28575" rIns="0" bIns="0" rtlCol="0">
            <a:spAutoFit/>
          </a:bodyPr>
          <a:lstStyle/>
          <a:p>
            <a:pPr marL="383540" marR="5080" indent="-371475">
              <a:lnSpc>
                <a:spcPts val="2590"/>
              </a:lnSpc>
              <a:spcBef>
                <a:spcPts val="225"/>
              </a:spcBef>
            </a:pPr>
            <a:r>
              <a:rPr sz="2200" b="1">
                <a:solidFill>
                  <a:srgbClr val="00247F"/>
                </a:solidFill>
                <a:latin typeface="Calibri"/>
                <a:cs typeface="Calibri"/>
              </a:rPr>
              <a:t>Building</a:t>
            </a:r>
            <a:r>
              <a:rPr sz="2200" b="1" spc="-70">
                <a:solidFill>
                  <a:srgbClr val="00247F"/>
                </a:solidFill>
                <a:latin typeface="Calibri"/>
                <a:cs typeface="Calibri"/>
              </a:rPr>
              <a:t> </a:t>
            </a:r>
            <a:r>
              <a:rPr sz="2200" b="1">
                <a:solidFill>
                  <a:srgbClr val="00247F"/>
                </a:solidFill>
                <a:latin typeface="Calibri"/>
                <a:cs typeface="Calibri"/>
              </a:rPr>
              <a:t>Awareness:</a:t>
            </a:r>
            <a:r>
              <a:rPr sz="2200" b="1" spc="-60">
                <a:solidFill>
                  <a:srgbClr val="00247F"/>
                </a:solidFill>
                <a:latin typeface="Calibri"/>
                <a:cs typeface="Calibri"/>
              </a:rPr>
              <a:t> </a:t>
            </a:r>
            <a:r>
              <a:rPr sz="2200" b="1">
                <a:solidFill>
                  <a:srgbClr val="00247F"/>
                </a:solidFill>
                <a:latin typeface="Calibri"/>
                <a:cs typeface="Calibri"/>
              </a:rPr>
              <a:t>Cook</a:t>
            </a:r>
            <a:r>
              <a:rPr sz="2200" b="1" spc="-65">
                <a:solidFill>
                  <a:srgbClr val="00247F"/>
                </a:solidFill>
                <a:latin typeface="Calibri"/>
                <a:cs typeface="Calibri"/>
              </a:rPr>
              <a:t> </a:t>
            </a:r>
            <a:r>
              <a:rPr sz="2200" b="1" spc="-10">
                <a:solidFill>
                  <a:srgbClr val="00247F"/>
                </a:solidFill>
                <a:latin typeface="Calibri"/>
                <a:cs typeface="Calibri"/>
              </a:rPr>
              <a:t>County </a:t>
            </a:r>
            <a:r>
              <a:rPr sz="2200" b="1">
                <a:solidFill>
                  <a:srgbClr val="00247F"/>
                </a:solidFill>
                <a:latin typeface="Calibri"/>
                <a:cs typeface="Calibri"/>
              </a:rPr>
              <a:t>SUID</a:t>
            </a:r>
            <a:r>
              <a:rPr sz="2200" b="1" spc="-65">
                <a:solidFill>
                  <a:srgbClr val="00247F"/>
                </a:solidFill>
                <a:latin typeface="Calibri"/>
                <a:cs typeface="Calibri"/>
              </a:rPr>
              <a:t> </a:t>
            </a:r>
            <a:r>
              <a:rPr sz="2200" b="1">
                <a:solidFill>
                  <a:srgbClr val="00247F"/>
                </a:solidFill>
                <a:latin typeface="Calibri"/>
                <a:cs typeface="Calibri"/>
              </a:rPr>
              <a:t>Report</a:t>
            </a:r>
            <a:r>
              <a:rPr sz="2200" b="1" spc="-55">
                <a:solidFill>
                  <a:srgbClr val="00247F"/>
                </a:solidFill>
                <a:latin typeface="Calibri"/>
                <a:cs typeface="Calibri"/>
              </a:rPr>
              <a:t> </a:t>
            </a:r>
            <a:r>
              <a:rPr sz="2200" b="1" spc="-10">
                <a:solidFill>
                  <a:srgbClr val="00247F"/>
                </a:solidFill>
                <a:latin typeface="Calibri"/>
                <a:cs typeface="Calibri"/>
              </a:rPr>
              <a:t>Dissemination</a:t>
            </a:r>
            <a:endParaRPr sz="2200">
              <a:latin typeface="Calibri"/>
              <a:cs typeface="Calibri"/>
            </a:endParaRPr>
          </a:p>
        </p:txBody>
      </p:sp>
      <p:grpSp>
        <p:nvGrpSpPr>
          <p:cNvPr id="26" name="object 26"/>
          <p:cNvGrpSpPr/>
          <p:nvPr/>
        </p:nvGrpSpPr>
        <p:grpSpPr>
          <a:xfrm>
            <a:off x="1988148" y="2550298"/>
            <a:ext cx="2249170" cy="2910840"/>
            <a:chOff x="1988148" y="2550298"/>
            <a:chExt cx="2249170" cy="2910840"/>
          </a:xfrm>
        </p:grpSpPr>
        <p:sp>
          <p:nvSpPr>
            <p:cNvPr id="27" name="object 27"/>
            <p:cNvSpPr/>
            <p:nvPr/>
          </p:nvSpPr>
          <p:spPr>
            <a:xfrm>
              <a:off x="1988147" y="2550299"/>
              <a:ext cx="2249170" cy="2910840"/>
            </a:xfrm>
            <a:custGeom>
              <a:avLst/>
              <a:gdLst/>
              <a:ahLst/>
              <a:cxnLst/>
              <a:rect l="l" t="t" r="r" b="b"/>
              <a:pathLst>
                <a:path w="2249170" h="2910840">
                  <a:moveTo>
                    <a:pt x="2248941" y="1299108"/>
                  </a:moveTo>
                  <a:lnTo>
                    <a:pt x="0" y="1299108"/>
                  </a:lnTo>
                  <a:lnTo>
                    <a:pt x="0" y="2910408"/>
                  </a:lnTo>
                  <a:lnTo>
                    <a:pt x="2248941" y="2910408"/>
                  </a:lnTo>
                  <a:lnTo>
                    <a:pt x="2248941" y="1299108"/>
                  </a:lnTo>
                  <a:close/>
                </a:path>
                <a:path w="2249170" h="2910840">
                  <a:moveTo>
                    <a:pt x="2248941" y="0"/>
                  </a:moveTo>
                  <a:lnTo>
                    <a:pt x="0" y="0"/>
                  </a:lnTo>
                  <a:lnTo>
                    <a:pt x="0" y="1045108"/>
                  </a:lnTo>
                  <a:lnTo>
                    <a:pt x="2248941" y="1045108"/>
                  </a:lnTo>
                  <a:lnTo>
                    <a:pt x="224894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28"/>
            <p:cNvPicPr/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88148" y="3800493"/>
              <a:ext cx="2248950" cy="1178670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2497201" y="5143944"/>
              <a:ext cx="278765" cy="102870"/>
            </a:xfrm>
            <a:custGeom>
              <a:avLst/>
              <a:gdLst/>
              <a:ahLst/>
              <a:cxnLst/>
              <a:rect l="l" t="t" r="r" b="b"/>
              <a:pathLst>
                <a:path w="278764" h="102870">
                  <a:moveTo>
                    <a:pt x="95808" y="1968"/>
                  </a:moveTo>
                  <a:lnTo>
                    <a:pt x="94653" y="1270"/>
                  </a:lnTo>
                  <a:lnTo>
                    <a:pt x="91401" y="1270"/>
                  </a:lnTo>
                  <a:lnTo>
                    <a:pt x="88887" y="1828"/>
                  </a:lnTo>
                  <a:lnTo>
                    <a:pt x="80683" y="1828"/>
                  </a:lnTo>
                  <a:lnTo>
                    <a:pt x="75171" y="1270"/>
                  </a:lnTo>
                  <a:lnTo>
                    <a:pt x="69227" y="1270"/>
                  </a:lnTo>
                  <a:lnTo>
                    <a:pt x="68237" y="1968"/>
                  </a:lnTo>
                  <a:lnTo>
                    <a:pt x="68237" y="8039"/>
                  </a:lnTo>
                  <a:lnTo>
                    <a:pt x="81381" y="7048"/>
                  </a:lnTo>
                  <a:lnTo>
                    <a:pt x="81381" y="62331"/>
                  </a:lnTo>
                  <a:lnTo>
                    <a:pt x="80670" y="72948"/>
                  </a:lnTo>
                  <a:lnTo>
                    <a:pt x="77139" y="84124"/>
                  </a:lnTo>
                  <a:lnTo>
                    <a:pt x="68643" y="92964"/>
                  </a:lnTo>
                  <a:lnTo>
                    <a:pt x="53035" y="96558"/>
                  </a:lnTo>
                  <a:lnTo>
                    <a:pt x="41071" y="94297"/>
                  </a:lnTo>
                  <a:lnTo>
                    <a:pt x="31419" y="87477"/>
                  </a:lnTo>
                  <a:lnTo>
                    <a:pt x="24980" y="76022"/>
                  </a:lnTo>
                  <a:lnTo>
                    <a:pt x="22631" y="59855"/>
                  </a:lnTo>
                  <a:lnTo>
                    <a:pt x="22631" y="7251"/>
                  </a:lnTo>
                  <a:lnTo>
                    <a:pt x="32080" y="6616"/>
                  </a:lnTo>
                  <a:lnTo>
                    <a:pt x="32080" y="977"/>
                  </a:lnTo>
                  <a:lnTo>
                    <a:pt x="28282" y="1270"/>
                  </a:lnTo>
                  <a:lnTo>
                    <a:pt x="23190" y="1270"/>
                  </a:lnTo>
                  <a:lnTo>
                    <a:pt x="18656" y="1828"/>
                  </a:lnTo>
                  <a:lnTo>
                    <a:pt x="10325" y="1828"/>
                  </a:lnTo>
                  <a:lnTo>
                    <a:pt x="6781" y="1270"/>
                  </a:lnTo>
                  <a:lnTo>
                    <a:pt x="3098" y="1270"/>
                  </a:lnTo>
                  <a:lnTo>
                    <a:pt x="0" y="1689"/>
                  </a:lnTo>
                  <a:lnTo>
                    <a:pt x="0" y="7200"/>
                  </a:lnTo>
                  <a:lnTo>
                    <a:pt x="11442" y="7835"/>
                  </a:lnTo>
                  <a:lnTo>
                    <a:pt x="11442" y="59791"/>
                  </a:lnTo>
                  <a:lnTo>
                    <a:pt x="12585" y="75628"/>
                  </a:lnTo>
                  <a:lnTo>
                    <a:pt x="17881" y="89230"/>
                  </a:lnTo>
                  <a:lnTo>
                    <a:pt x="30162" y="98767"/>
                  </a:lnTo>
                  <a:lnTo>
                    <a:pt x="52222" y="102349"/>
                  </a:lnTo>
                  <a:lnTo>
                    <a:pt x="74307" y="95808"/>
                  </a:lnTo>
                  <a:lnTo>
                    <a:pt x="84582" y="81419"/>
                  </a:lnTo>
                  <a:lnTo>
                    <a:pt x="87477" y="67043"/>
                  </a:lnTo>
                  <a:lnTo>
                    <a:pt x="87452" y="8229"/>
                  </a:lnTo>
                  <a:lnTo>
                    <a:pt x="95808" y="6781"/>
                  </a:lnTo>
                  <a:lnTo>
                    <a:pt x="95808" y="1968"/>
                  </a:lnTo>
                  <a:close/>
                </a:path>
                <a:path w="278764" h="102870">
                  <a:moveTo>
                    <a:pt x="169545" y="73685"/>
                  </a:moveTo>
                  <a:lnTo>
                    <a:pt x="164096" y="56248"/>
                  </a:lnTo>
                  <a:lnTo>
                    <a:pt x="150977" y="46812"/>
                  </a:lnTo>
                  <a:lnTo>
                    <a:pt x="135077" y="41376"/>
                  </a:lnTo>
                  <a:lnTo>
                    <a:pt x="121234" y="35928"/>
                  </a:lnTo>
                  <a:lnTo>
                    <a:pt x="119189" y="34696"/>
                  </a:lnTo>
                  <a:lnTo>
                    <a:pt x="113817" y="28257"/>
                  </a:lnTo>
                  <a:lnTo>
                    <a:pt x="112737" y="21336"/>
                  </a:lnTo>
                  <a:lnTo>
                    <a:pt x="113360" y="18719"/>
                  </a:lnTo>
                  <a:lnTo>
                    <a:pt x="116827" y="8826"/>
                  </a:lnTo>
                  <a:lnTo>
                    <a:pt x="124929" y="5473"/>
                  </a:lnTo>
                  <a:lnTo>
                    <a:pt x="133819" y="5473"/>
                  </a:lnTo>
                  <a:lnTo>
                    <a:pt x="163614" y="26847"/>
                  </a:lnTo>
                  <a:lnTo>
                    <a:pt x="166573" y="26847"/>
                  </a:lnTo>
                  <a:lnTo>
                    <a:pt x="166852" y="25869"/>
                  </a:lnTo>
                  <a:lnTo>
                    <a:pt x="164465" y="3937"/>
                  </a:lnTo>
                  <a:lnTo>
                    <a:pt x="163741" y="3517"/>
                  </a:lnTo>
                  <a:lnTo>
                    <a:pt x="161493" y="3517"/>
                  </a:lnTo>
                  <a:lnTo>
                    <a:pt x="161213" y="5080"/>
                  </a:lnTo>
                  <a:lnTo>
                    <a:pt x="157962" y="5080"/>
                  </a:lnTo>
                  <a:lnTo>
                    <a:pt x="153289" y="0"/>
                  </a:lnTo>
                  <a:lnTo>
                    <a:pt x="136182" y="0"/>
                  </a:lnTo>
                  <a:lnTo>
                    <a:pt x="124409" y="1460"/>
                  </a:lnTo>
                  <a:lnTo>
                    <a:pt x="114388" y="6032"/>
                  </a:lnTo>
                  <a:lnTo>
                    <a:pt x="107403" y="13982"/>
                  </a:lnTo>
                  <a:lnTo>
                    <a:pt x="104787" y="25552"/>
                  </a:lnTo>
                  <a:lnTo>
                    <a:pt x="110185" y="42303"/>
                  </a:lnTo>
                  <a:lnTo>
                    <a:pt x="123177" y="51358"/>
                  </a:lnTo>
                  <a:lnTo>
                    <a:pt x="138887" y="56743"/>
                  </a:lnTo>
                  <a:lnTo>
                    <a:pt x="152463" y="62458"/>
                  </a:lnTo>
                  <a:lnTo>
                    <a:pt x="156654" y="65227"/>
                  </a:lnTo>
                  <a:lnTo>
                    <a:pt x="160426" y="71526"/>
                  </a:lnTo>
                  <a:lnTo>
                    <a:pt x="160756" y="81026"/>
                  </a:lnTo>
                  <a:lnTo>
                    <a:pt x="158623" y="85991"/>
                  </a:lnTo>
                  <a:lnTo>
                    <a:pt x="150279" y="94767"/>
                  </a:lnTo>
                  <a:lnTo>
                    <a:pt x="145516" y="96647"/>
                  </a:lnTo>
                  <a:lnTo>
                    <a:pt x="137096" y="96786"/>
                  </a:lnTo>
                  <a:lnTo>
                    <a:pt x="125768" y="94780"/>
                  </a:lnTo>
                  <a:lnTo>
                    <a:pt x="116217" y="89458"/>
                  </a:lnTo>
                  <a:lnTo>
                    <a:pt x="109194" y="82423"/>
                  </a:lnTo>
                  <a:lnTo>
                    <a:pt x="105422" y="75234"/>
                  </a:lnTo>
                  <a:lnTo>
                    <a:pt x="104940" y="73469"/>
                  </a:lnTo>
                  <a:lnTo>
                    <a:pt x="104584" y="73037"/>
                  </a:lnTo>
                  <a:lnTo>
                    <a:pt x="101815" y="73037"/>
                  </a:lnTo>
                  <a:lnTo>
                    <a:pt x="101104" y="73507"/>
                  </a:lnTo>
                  <a:lnTo>
                    <a:pt x="101676" y="76339"/>
                  </a:lnTo>
                  <a:lnTo>
                    <a:pt x="105778" y="97116"/>
                  </a:lnTo>
                  <a:lnTo>
                    <a:pt x="118643" y="102349"/>
                  </a:lnTo>
                  <a:lnTo>
                    <a:pt x="129108" y="102349"/>
                  </a:lnTo>
                  <a:lnTo>
                    <a:pt x="148971" y="99542"/>
                  </a:lnTo>
                  <a:lnTo>
                    <a:pt x="161366" y="92468"/>
                  </a:lnTo>
                  <a:lnTo>
                    <a:pt x="167741" y="83172"/>
                  </a:lnTo>
                  <a:lnTo>
                    <a:pt x="169545" y="73685"/>
                  </a:lnTo>
                  <a:close/>
                </a:path>
                <a:path w="278764" h="102870">
                  <a:moveTo>
                    <a:pt x="278193" y="96126"/>
                  </a:moveTo>
                  <a:lnTo>
                    <a:pt x="265341" y="95923"/>
                  </a:lnTo>
                  <a:lnTo>
                    <a:pt x="265341" y="6616"/>
                  </a:lnTo>
                  <a:lnTo>
                    <a:pt x="274815" y="6070"/>
                  </a:lnTo>
                  <a:lnTo>
                    <a:pt x="274815" y="2667"/>
                  </a:lnTo>
                  <a:lnTo>
                    <a:pt x="274535" y="1270"/>
                  </a:lnTo>
                  <a:lnTo>
                    <a:pt x="268020" y="1270"/>
                  </a:lnTo>
                  <a:lnTo>
                    <a:pt x="266433" y="1828"/>
                  </a:lnTo>
                  <a:lnTo>
                    <a:pt x="258508" y="1828"/>
                  </a:lnTo>
                  <a:lnTo>
                    <a:pt x="252183" y="1270"/>
                  </a:lnTo>
                  <a:lnTo>
                    <a:pt x="245389" y="1270"/>
                  </a:lnTo>
                  <a:lnTo>
                    <a:pt x="245097" y="1968"/>
                  </a:lnTo>
                  <a:lnTo>
                    <a:pt x="245097" y="6070"/>
                  </a:lnTo>
                  <a:lnTo>
                    <a:pt x="255714" y="6616"/>
                  </a:lnTo>
                  <a:lnTo>
                    <a:pt x="255714" y="43243"/>
                  </a:lnTo>
                  <a:lnTo>
                    <a:pt x="255485" y="46507"/>
                  </a:lnTo>
                  <a:lnTo>
                    <a:pt x="200990" y="46507"/>
                  </a:lnTo>
                  <a:lnTo>
                    <a:pt x="200723" y="42773"/>
                  </a:lnTo>
                  <a:lnTo>
                    <a:pt x="200723" y="5778"/>
                  </a:lnTo>
                  <a:lnTo>
                    <a:pt x="210883" y="5511"/>
                  </a:lnTo>
                  <a:lnTo>
                    <a:pt x="210883" y="2108"/>
                  </a:lnTo>
                  <a:lnTo>
                    <a:pt x="210604" y="1270"/>
                  </a:lnTo>
                  <a:lnTo>
                    <a:pt x="203822" y="1270"/>
                  </a:lnTo>
                  <a:lnTo>
                    <a:pt x="200469" y="1828"/>
                  </a:lnTo>
                  <a:lnTo>
                    <a:pt x="190855" y="1828"/>
                  </a:lnTo>
                  <a:lnTo>
                    <a:pt x="185775" y="1270"/>
                  </a:lnTo>
                  <a:lnTo>
                    <a:pt x="179412" y="1270"/>
                  </a:lnTo>
                  <a:lnTo>
                    <a:pt x="178269" y="1536"/>
                  </a:lnTo>
                  <a:lnTo>
                    <a:pt x="178269" y="5930"/>
                  </a:lnTo>
                  <a:lnTo>
                    <a:pt x="190423" y="6070"/>
                  </a:lnTo>
                  <a:lnTo>
                    <a:pt x="190576" y="16395"/>
                  </a:lnTo>
                  <a:lnTo>
                    <a:pt x="190576" y="97040"/>
                  </a:lnTo>
                  <a:lnTo>
                    <a:pt x="179527" y="95148"/>
                  </a:lnTo>
                  <a:lnTo>
                    <a:pt x="179527" y="100660"/>
                  </a:lnTo>
                  <a:lnTo>
                    <a:pt x="179959" y="101358"/>
                  </a:lnTo>
                  <a:lnTo>
                    <a:pt x="181660" y="101358"/>
                  </a:lnTo>
                  <a:lnTo>
                    <a:pt x="183210" y="100799"/>
                  </a:lnTo>
                  <a:lnTo>
                    <a:pt x="200748" y="100799"/>
                  </a:lnTo>
                  <a:lnTo>
                    <a:pt x="210032" y="101358"/>
                  </a:lnTo>
                  <a:lnTo>
                    <a:pt x="213144" y="101358"/>
                  </a:lnTo>
                  <a:lnTo>
                    <a:pt x="214134" y="100939"/>
                  </a:lnTo>
                  <a:lnTo>
                    <a:pt x="214134" y="95846"/>
                  </a:lnTo>
                  <a:lnTo>
                    <a:pt x="200723" y="96189"/>
                  </a:lnTo>
                  <a:lnTo>
                    <a:pt x="200723" y="54749"/>
                  </a:lnTo>
                  <a:lnTo>
                    <a:pt x="201307" y="51739"/>
                  </a:lnTo>
                  <a:lnTo>
                    <a:pt x="255790" y="51739"/>
                  </a:lnTo>
                  <a:lnTo>
                    <a:pt x="255714" y="95351"/>
                  </a:lnTo>
                  <a:lnTo>
                    <a:pt x="245795" y="96126"/>
                  </a:lnTo>
                  <a:lnTo>
                    <a:pt x="245795" y="101790"/>
                  </a:lnTo>
                  <a:lnTo>
                    <a:pt x="247929" y="101358"/>
                  </a:lnTo>
                  <a:lnTo>
                    <a:pt x="251891" y="101358"/>
                  </a:lnTo>
                  <a:lnTo>
                    <a:pt x="254304" y="100799"/>
                  </a:lnTo>
                  <a:lnTo>
                    <a:pt x="268452" y="100799"/>
                  </a:lnTo>
                  <a:lnTo>
                    <a:pt x="272834" y="101358"/>
                  </a:lnTo>
                  <a:lnTo>
                    <a:pt x="277634" y="101358"/>
                  </a:lnTo>
                  <a:lnTo>
                    <a:pt x="278193" y="100088"/>
                  </a:lnTo>
                  <a:lnTo>
                    <a:pt x="278193" y="96126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0" name="object 30"/>
            <p:cNvPicPr/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89459" y="5141071"/>
              <a:ext cx="100658" cy="108979"/>
            </a:xfrm>
            <a:prstGeom prst="rect">
              <a:avLst/>
            </a:prstGeom>
          </p:spPr>
        </p:pic>
        <p:sp>
          <p:nvSpPr>
            <p:cNvPr id="31" name="object 31"/>
            <p:cNvSpPr/>
            <p:nvPr/>
          </p:nvSpPr>
          <p:spPr>
            <a:xfrm>
              <a:off x="2414816" y="5145485"/>
              <a:ext cx="92075" cy="100330"/>
            </a:xfrm>
            <a:custGeom>
              <a:avLst/>
              <a:gdLst/>
              <a:ahLst/>
              <a:cxnLst/>
              <a:rect l="l" t="t" r="r" b="b"/>
              <a:pathLst>
                <a:path w="92075" h="100329">
                  <a:moveTo>
                    <a:pt x="37923" y="99238"/>
                  </a:moveTo>
                  <a:lnTo>
                    <a:pt x="31028" y="99238"/>
                  </a:lnTo>
                  <a:lnTo>
                    <a:pt x="34263" y="99814"/>
                  </a:lnTo>
                  <a:lnTo>
                    <a:pt x="36658" y="99814"/>
                  </a:lnTo>
                  <a:lnTo>
                    <a:pt x="37923" y="100105"/>
                  </a:lnTo>
                  <a:lnTo>
                    <a:pt x="37923" y="99238"/>
                  </a:lnTo>
                  <a:close/>
                </a:path>
                <a:path w="92075" h="100329">
                  <a:moveTo>
                    <a:pt x="1847" y="94729"/>
                  </a:moveTo>
                  <a:lnTo>
                    <a:pt x="1951" y="99238"/>
                  </a:lnTo>
                  <a:lnTo>
                    <a:pt x="2402" y="99814"/>
                  </a:lnTo>
                  <a:lnTo>
                    <a:pt x="8595" y="99814"/>
                  </a:lnTo>
                  <a:lnTo>
                    <a:pt x="13971" y="99238"/>
                  </a:lnTo>
                  <a:lnTo>
                    <a:pt x="37923" y="99238"/>
                  </a:lnTo>
                  <a:lnTo>
                    <a:pt x="37923" y="98690"/>
                  </a:lnTo>
                  <a:lnTo>
                    <a:pt x="35634" y="96328"/>
                  </a:lnTo>
                  <a:lnTo>
                    <a:pt x="34424" y="95952"/>
                  </a:lnTo>
                  <a:lnTo>
                    <a:pt x="12122" y="95952"/>
                  </a:lnTo>
                  <a:lnTo>
                    <a:pt x="1847" y="94729"/>
                  </a:lnTo>
                  <a:close/>
                </a:path>
                <a:path w="92075" h="100329">
                  <a:moveTo>
                    <a:pt x="40594" y="52028"/>
                  </a:moveTo>
                  <a:lnTo>
                    <a:pt x="45680" y="59917"/>
                  </a:lnTo>
                  <a:lnTo>
                    <a:pt x="64293" y="89136"/>
                  </a:lnTo>
                  <a:lnTo>
                    <a:pt x="69646" y="97173"/>
                  </a:lnTo>
                  <a:lnTo>
                    <a:pt x="72182" y="99814"/>
                  </a:lnTo>
                  <a:lnTo>
                    <a:pt x="91629" y="99814"/>
                  </a:lnTo>
                  <a:lnTo>
                    <a:pt x="91629" y="98116"/>
                  </a:lnTo>
                  <a:lnTo>
                    <a:pt x="90608" y="96754"/>
                  </a:lnTo>
                  <a:lnTo>
                    <a:pt x="87485" y="95884"/>
                  </a:lnTo>
                  <a:lnTo>
                    <a:pt x="82170" y="92714"/>
                  </a:lnTo>
                  <a:lnTo>
                    <a:pt x="74571" y="84451"/>
                  </a:lnTo>
                  <a:lnTo>
                    <a:pt x="53451" y="52443"/>
                  </a:lnTo>
                  <a:lnTo>
                    <a:pt x="42711" y="52443"/>
                  </a:lnTo>
                  <a:lnTo>
                    <a:pt x="40594" y="52028"/>
                  </a:lnTo>
                  <a:close/>
                </a:path>
                <a:path w="92075" h="100329">
                  <a:moveTo>
                    <a:pt x="5372" y="15"/>
                  </a:moveTo>
                  <a:lnTo>
                    <a:pt x="1143" y="15"/>
                  </a:lnTo>
                  <a:lnTo>
                    <a:pt x="0" y="853"/>
                  </a:lnTo>
                  <a:lnTo>
                    <a:pt x="0" y="1703"/>
                  </a:lnTo>
                  <a:lnTo>
                    <a:pt x="1894" y="3783"/>
                  </a:lnTo>
                  <a:lnTo>
                    <a:pt x="6061" y="4701"/>
                  </a:lnTo>
                  <a:lnTo>
                    <a:pt x="10228" y="7258"/>
                  </a:lnTo>
                  <a:lnTo>
                    <a:pt x="12122" y="14256"/>
                  </a:lnTo>
                  <a:lnTo>
                    <a:pt x="12122" y="95952"/>
                  </a:lnTo>
                  <a:lnTo>
                    <a:pt x="34424" y="95952"/>
                  </a:lnTo>
                  <a:lnTo>
                    <a:pt x="30597" y="94763"/>
                  </a:lnTo>
                  <a:lnTo>
                    <a:pt x="25560" y="91481"/>
                  </a:lnTo>
                  <a:lnTo>
                    <a:pt x="23271" y="83966"/>
                  </a:lnTo>
                  <a:lnTo>
                    <a:pt x="23271" y="54986"/>
                  </a:lnTo>
                  <a:lnTo>
                    <a:pt x="22419" y="52443"/>
                  </a:lnTo>
                  <a:lnTo>
                    <a:pt x="40862" y="52443"/>
                  </a:lnTo>
                  <a:lnTo>
                    <a:pt x="40594" y="52028"/>
                  </a:lnTo>
                  <a:lnTo>
                    <a:pt x="53177" y="52028"/>
                  </a:lnTo>
                  <a:lnTo>
                    <a:pt x="51038" y="48787"/>
                  </a:lnTo>
                  <a:lnTo>
                    <a:pt x="51791" y="48360"/>
                  </a:lnTo>
                  <a:lnTo>
                    <a:pt x="23271" y="48360"/>
                  </a:lnTo>
                  <a:lnTo>
                    <a:pt x="23271" y="4378"/>
                  </a:lnTo>
                  <a:lnTo>
                    <a:pt x="56594" y="4378"/>
                  </a:lnTo>
                  <a:lnTo>
                    <a:pt x="52938" y="2005"/>
                  </a:lnTo>
                  <a:lnTo>
                    <a:pt x="44864" y="582"/>
                  </a:lnTo>
                  <a:lnTo>
                    <a:pt x="4652" y="582"/>
                  </a:lnTo>
                  <a:lnTo>
                    <a:pt x="5372" y="15"/>
                  </a:lnTo>
                  <a:close/>
                </a:path>
                <a:path w="92075" h="100329">
                  <a:moveTo>
                    <a:pt x="53177" y="52028"/>
                  </a:moveTo>
                  <a:lnTo>
                    <a:pt x="40594" y="52028"/>
                  </a:lnTo>
                  <a:lnTo>
                    <a:pt x="42711" y="52443"/>
                  </a:lnTo>
                  <a:lnTo>
                    <a:pt x="53451" y="52443"/>
                  </a:lnTo>
                  <a:lnTo>
                    <a:pt x="53177" y="52028"/>
                  </a:lnTo>
                  <a:close/>
                </a:path>
                <a:path w="92075" h="100329">
                  <a:moveTo>
                    <a:pt x="56594" y="4378"/>
                  </a:moveTo>
                  <a:lnTo>
                    <a:pt x="23271" y="4378"/>
                  </a:lnTo>
                  <a:lnTo>
                    <a:pt x="26222" y="4665"/>
                  </a:lnTo>
                  <a:lnTo>
                    <a:pt x="31308" y="4665"/>
                  </a:lnTo>
                  <a:lnTo>
                    <a:pt x="41338" y="5836"/>
                  </a:lnTo>
                  <a:lnTo>
                    <a:pt x="49946" y="9703"/>
                  </a:lnTo>
                  <a:lnTo>
                    <a:pt x="55964" y="16795"/>
                  </a:lnTo>
                  <a:lnTo>
                    <a:pt x="58229" y="27643"/>
                  </a:lnTo>
                  <a:lnTo>
                    <a:pt x="56019" y="38141"/>
                  </a:lnTo>
                  <a:lnTo>
                    <a:pt x="50703" y="44204"/>
                  </a:lnTo>
                  <a:lnTo>
                    <a:pt x="44248" y="46992"/>
                  </a:lnTo>
                  <a:lnTo>
                    <a:pt x="38624" y="47663"/>
                  </a:lnTo>
                  <a:lnTo>
                    <a:pt x="32006" y="47663"/>
                  </a:lnTo>
                  <a:lnTo>
                    <a:pt x="23271" y="48360"/>
                  </a:lnTo>
                  <a:lnTo>
                    <a:pt x="51791" y="48360"/>
                  </a:lnTo>
                  <a:lnTo>
                    <a:pt x="57975" y="44857"/>
                  </a:lnTo>
                  <a:lnTo>
                    <a:pt x="63616" y="39236"/>
                  </a:lnTo>
                  <a:lnTo>
                    <a:pt x="67407" y="32294"/>
                  </a:lnTo>
                  <a:lnTo>
                    <a:pt x="68794" y="24402"/>
                  </a:lnTo>
                  <a:lnTo>
                    <a:pt x="63892" y="9113"/>
                  </a:lnTo>
                  <a:lnTo>
                    <a:pt x="56594" y="4378"/>
                  </a:lnTo>
                  <a:close/>
                </a:path>
                <a:path w="92075" h="100329">
                  <a:moveTo>
                    <a:pt x="41562" y="0"/>
                  </a:moveTo>
                  <a:lnTo>
                    <a:pt x="28063" y="15"/>
                  </a:lnTo>
                  <a:lnTo>
                    <a:pt x="20022" y="582"/>
                  </a:lnTo>
                  <a:lnTo>
                    <a:pt x="44864" y="582"/>
                  </a:lnTo>
                  <a:lnTo>
                    <a:pt x="41562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1988148" y="3595397"/>
              <a:ext cx="2249170" cy="254000"/>
            </a:xfrm>
            <a:custGeom>
              <a:avLst/>
              <a:gdLst/>
              <a:ahLst/>
              <a:cxnLst/>
              <a:rect l="l" t="t" r="r" b="b"/>
              <a:pathLst>
                <a:path w="2249170" h="254000">
                  <a:moveTo>
                    <a:pt x="2248950" y="0"/>
                  </a:moveTo>
                  <a:lnTo>
                    <a:pt x="0" y="0"/>
                  </a:lnTo>
                  <a:lnTo>
                    <a:pt x="0" y="253999"/>
                  </a:lnTo>
                  <a:lnTo>
                    <a:pt x="2248950" y="253999"/>
                  </a:lnTo>
                  <a:lnTo>
                    <a:pt x="2248950" y="0"/>
                  </a:lnTo>
                  <a:close/>
                </a:path>
              </a:pathLst>
            </a:custGeom>
            <a:solidFill>
              <a:srgbClr val="00B4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2291119" y="2872312"/>
            <a:ext cx="1643380" cy="445770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322580" marR="5080" indent="-310515">
              <a:lnSpc>
                <a:spcPct val="78300"/>
              </a:lnSpc>
              <a:spcBef>
                <a:spcPts val="495"/>
              </a:spcBef>
            </a:pPr>
            <a:r>
              <a:rPr sz="1550" b="1" spc="-20">
                <a:solidFill>
                  <a:srgbClr val="006332"/>
                </a:solidFill>
                <a:latin typeface="Calibri"/>
                <a:cs typeface="Calibri"/>
              </a:rPr>
              <a:t>Sudden</a:t>
            </a:r>
            <a:r>
              <a:rPr sz="1550" b="1" spc="-25">
                <a:solidFill>
                  <a:srgbClr val="006332"/>
                </a:solidFill>
                <a:latin typeface="Calibri"/>
                <a:cs typeface="Calibri"/>
              </a:rPr>
              <a:t> </a:t>
            </a:r>
            <a:r>
              <a:rPr sz="1550" b="1" spc="-20">
                <a:solidFill>
                  <a:srgbClr val="006332"/>
                </a:solidFill>
                <a:latin typeface="Calibri"/>
                <a:cs typeface="Calibri"/>
              </a:rPr>
              <a:t>Unexpected Infant</a:t>
            </a:r>
            <a:r>
              <a:rPr sz="1550" b="1" spc="-45">
                <a:solidFill>
                  <a:srgbClr val="006332"/>
                </a:solidFill>
                <a:latin typeface="Calibri"/>
                <a:cs typeface="Calibri"/>
              </a:rPr>
              <a:t> </a:t>
            </a:r>
            <a:r>
              <a:rPr sz="1550" b="1" spc="-20">
                <a:solidFill>
                  <a:srgbClr val="006332"/>
                </a:solidFill>
                <a:latin typeface="Calibri"/>
                <a:cs typeface="Calibri"/>
              </a:rPr>
              <a:t>Death</a:t>
            </a:r>
            <a:endParaRPr sz="1550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2288878" y="3344897"/>
            <a:ext cx="1647825" cy="18034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000" b="1">
                <a:solidFill>
                  <a:srgbClr val="00B480"/>
                </a:solidFill>
                <a:latin typeface="Calibri"/>
                <a:cs typeface="Calibri"/>
              </a:rPr>
              <a:t>Cook</a:t>
            </a:r>
            <a:r>
              <a:rPr sz="1000" b="1" spc="-10">
                <a:solidFill>
                  <a:srgbClr val="00B480"/>
                </a:solidFill>
                <a:latin typeface="Calibri"/>
                <a:cs typeface="Calibri"/>
              </a:rPr>
              <a:t> </a:t>
            </a:r>
            <a:r>
              <a:rPr sz="1000" b="1">
                <a:solidFill>
                  <a:srgbClr val="00B480"/>
                </a:solidFill>
                <a:latin typeface="Calibri"/>
                <a:cs typeface="Calibri"/>
              </a:rPr>
              <a:t>County</a:t>
            </a:r>
            <a:r>
              <a:rPr sz="1000" b="1" spc="-5">
                <a:solidFill>
                  <a:srgbClr val="00B480"/>
                </a:solidFill>
                <a:latin typeface="Calibri"/>
                <a:cs typeface="Calibri"/>
              </a:rPr>
              <a:t> </a:t>
            </a:r>
            <a:r>
              <a:rPr sz="1000" b="1" spc="-20">
                <a:solidFill>
                  <a:srgbClr val="00B480"/>
                </a:solidFill>
                <a:latin typeface="Calibri"/>
                <a:cs typeface="Calibri"/>
              </a:rPr>
              <a:t>Report</a:t>
            </a:r>
            <a:r>
              <a:rPr sz="1000" b="1" spc="-5">
                <a:solidFill>
                  <a:srgbClr val="00B480"/>
                </a:solidFill>
                <a:latin typeface="Calibri"/>
                <a:cs typeface="Calibri"/>
              </a:rPr>
              <a:t> </a:t>
            </a:r>
            <a:r>
              <a:rPr sz="1000" b="1">
                <a:solidFill>
                  <a:srgbClr val="00B480"/>
                </a:solidFill>
                <a:latin typeface="Calibri"/>
                <a:cs typeface="Calibri"/>
              </a:rPr>
              <a:t>2020-</a:t>
            </a:r>
            <a:r>
              <a:rPr sz="1000" b="1" spc="-20">
                <a:solidFill>
                  <a:srgbClr val="00B480"/>
                </a:solidFill>
                <a:latin typeface="Calibri"/>
                <a:cs typeface="Calibri"/>
              </a:rPr>
              <a:t>2021</a:t>
            </a:r>
            <a:endParaRPr sz="1000">
              <a:latin typeface="Calibri"/>
              <a:cs typeface="Calibri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2309615" y="3344595"/>
            <a:ext cx="1606550" cy="0"/>
          </a:xfrm>
          <a:custGeom>
            <a:avLst/>
            <a:gdLst/>
            <a:ahLst/>
            <a:cxnLst/>
            <a:rect l="l" t="t" r="r" b="b"/>
            <a:pathLst>
              <a:path w="1606550">
                <a:moveTo>
                  <a:pt x="0" y="0"/>
                </a:moveTo>
                <a:lnTo>
                  <a:pt x="1606015" y="0"/>
                </a:lnTo>
              </a:path>
            </a:pathLst>
          </a:custGeom>
          <a:ln w="4189">
            <a:solidFill>
              <a:srgbClr val="00633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 txBox="1"/>
          <p:nvPr/>
        </p:nvSpPr>
        <p:spPr>
          <a:xfrm>
            <a:off x="2669676" y="3595397"/>
            <a:ext cx="1567815" cy="254000"/>
          </a:xfrm>
          <a:prstGeom prst="rect">
            <a:avLst/>
          </a:prstGeom>
          <a:solidFill>
            <a:srgbClr val="00B480"/>
          </a:solidFill>
        </p:spPr>
        <p:txBody>
          <a:bodyPr vert="horz" wrap="square" lIns="0" tIns="44450" rIns="0" bIns="0" rtlCol="0">
            <a:spAutoFit/>
          </a:bodyPr>
          <a:lstStyle/>
          <a:p>
            <a:pPr marL="111125">
              <a:lnSpc>
                <a:spcPct val="100000"/>
              </a:lnSpc>
              <a:spcBef>
                <a:spcPts val="350"/>
              </a:spcBef>
            </a:pPr>
            <a:r>
              <a:rPr sz="1150" b="1">
                <a:solidFill>
                  <a:srgbClr val="FFFFFF"/>
                </a:solidFill>
                <a:latin typeface="Calibri"/>
                <a:cs typeface="Calibri"/>
              </a:rPr>
              <a:t>2020-</a:t>
            </a:r>
            <a:r>
              <a:rPr sz="1150" b="1" spc="-20">
                <a:solidFill>
                  <a:srgbClr val="FFFFFF"/>
                </a:solidFill>
                <a:latin typeface="Calibri"/>
                <a:cs typeface="Calibri"/>
              </a:rPr>
              <a:t>2021</a:t>
            </a:r>
            <a:endParaRPr sz="1150">
              <a:latin typeface="Calibri"/>
              <a:cs typeface="Calibri"/>
            </a:endParaRPr>
          </a:p>
        </p:txBody>
      </p:sp>
      <p:grpSp>
        <p:nvGrpSpPr>
          <p:cNvPr id="37" name="object 37"/>
          <p:cNvGrpSpPr/>
          <p:nvPr/>
        </p:nvGrpSpPr>
        <p:grpSpPr>
          <a:xfrm>
            <a:off x="1978623" y="2540773"/>
            <a:ext cx="2268220" cy="2929890"/>
            <a:chOff x="1978623" y="2540773"/>
            <a:chExt cx="2268220" cy="2929890"/>
          </a:xfrm>
        </p:grpSpPr>
        <p:pic>
          <p:nvPicPr>
            <p:cNvPr id="38" name="object 38"/>
            <p:cNvPicPr/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25681" y="4824088"/>
              <a:ext cx="474734" cy="471328"/>
            </a:xfrm>
            <a:prstGeom prst="rect">
              <a:avLst/>
            </a:prstGeom>
          </p:spPr>
        </p:pic>
        <p:sp>
          <p:nvSpPr>
            <p:cNvPr id="39" name="object 39"/>
            <p:cNvSpPr/>
            <p:nvPr/>
          </p:nvSpPr>
          <p:spPr>
            <a:xfrm>
              <a:off x="1983385" y="2545536"/>
              <a:ext cx="2258695" cy="2920365"/>
            </a:xfrm>
            <a:custGeom>
              <a:avLst/>
              <a:gdLst/>
              <a:ahLst/>
              <a:cxnLst/>
              <a:rect l="l" t="t" r="r" b="b"/>
              <a:pathLst>
                <a:path w="2258695" h="2920365">
                  <a:moveTo>
                    <a:pt x="0" y="0"/>
                  </a:moveTo>
                  <a:lnTo>
                    <a:pt x="2258474" y="0"/>
                  </a:lnTo>
                  <a:lnTo>
                    <a:pt x="2258474" y="2919930"/>
                  </a:lnTo>
                  <a:lnTo>
                    <a:pt x="0" y="291993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0" name="object 11">
            <a:extLst>
              <a:ext uri="{FF2B5EF4-FFF2-40B4-BE49-F238E27FC236}">
                <a16:creationId xmlns:a16="http://schemas.microsoft.com/office/drawing/2014/main" id="{1835217F-748F-9D41-B993-C616F3BC6CDC}"/>
              </a:ext>
            </a:extLst>
          </p:cNvPr>
          <p:cNvSpPr txBox="1"/>
          <p:nvPr/>
        </p:nvSpPr>
        <p:spPr>
          <a:xfrm>
            <a:off x="6399652" y="2139829"/>
            <a:ext cx="1210945" cy="635046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2065" marR="5080" algn="ctr">
              <a:lnSpc>
                <a:spcPct val="93300"/>
              </a:lnSpc>
              <a:spcBef>
                <a:spcPts val="265"/>
              </a:spcBef>
            </a:pPr>
            <a:r>
              <a:rPr lang="en-US" sz="2100" dirty="0">
                <a:solidFill>
                  <a:srgbClr val="FFFFFF"/>
                </a:solidFill>
                <a:latin typeface="Calibri"/>
                <a:cs typeface="Calibri"/>
              </a:rPr>
              <a:t>Public Health</a:t>
            </a:r>
            <a:endParaRPr sz="21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we="http://schemas.microsoft.com/office/webextensions/webextension/2010/11" xmlns:pca="http://schemas.microsoft.com/office/powerpoint/2013/contentapp">
        <mc:Choice Requires="we pca">
          <p:graphicFrame>
            <p:nvGraphicFramePr>
              <p:cNvPr id="2" name="Add-in 1" title="Web Viewer">
                <a:extLst>
                  <a:ext uri="{FF2B5EF4-FFF2-40B4-BE49-F238E27FC236}">
                    <a16:creationId xmlns:a16="http://schemas.microsoft.com/office/drawing/2014/main" id="{F601B9B2-035F-114B-856D-D7A735608005}"/>
                  </a:ext>
                </a:extLst>
              </p:cNvPr>
              <p:cNvGraphicFramePr>
                <a:graphicFrameLocks noGrp="1"/>
              </p:cNvGraphicFramePr>
              <p:nvPr/>
            </p:nvGraphicFramePr>
            <p:xfrm>
              <a:off x="0" y="0"/>
              <a:ext cx="12192000" cy="685800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2" name="Add-in 1" title="Web Viewer">
                <a:extLst>
                  <a:ext uri="{FF2B5EF4-FFF2-40B4-BE49-F238E27FC236}">
                    <a16:creationId xmlns:a16="http://schemas.microsoft.com/office/drawing/2014/main" id="{F601B9B2-035F-114B-856D-D7A73560800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0" y="0"/>
                <a:ext cx="12192000" cy="685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4265532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57355" y="635507"/>
            <a:ext cx="6339205" cy="513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b="1">
                <a:solidFill>
                  <a:srgbClr val="203864"/>
                </a:solidFill>
                <a:latin typeface="Arial"/>
                <a:cs typeface="Arial"/>
              </a:rPr>
              <a:t>What</a:t>
            </a:r>
            <a:r>
              <a:rPr sz="3200" b="1" spc="-35">
                <a:solidFill>
                  <a:srgbClr val="203864"/>
                </a:solidFill>
                <a:latin typeface="Arial"/>
                <a:cs typeface="Arial"/>
              </a:rPr>
              <a:t> </a:t>
            </a:r>
            <a:r>
              <a:rPr sz="3200" b="1">
                <a:solidFill>
                  <a:srgbClr val="203864"/>
                </a:solidFill>
                <a:latin typeface="Arial"/>
                <a:cs typeface="Arial"/>
              </a:rPr>
              <a:t>is</a:t>
            </a:r>
            <a:r>
              <a:rPr sz="3200" b="1" spc="-40">
                <a:solidFill>
                  <a:srgbClr val="203864"/>
                </a:solidFill>
                <a:latin typeface="Arial"/>
                <a:cs typeface="Arial"/>
              </a:rPr>
              <a:t> </a:t>
            </a:r>
            <a:r>
              <a:rPr sz="3200" b="1">
                <a:solidFill>
                  <a:srgbClr val="203864"/>
                </a:solidFill>
                <a:latin typeface="Arial"/>
                <a:cs typeface="Arial"/>
              </a:rPr>
              <a:t>the</a:t>
            </a:r>
            <a:r>
              <a:rPr sz="3200" b="1" spc="-40">
                <a:solidFill>
                  <a:srgbClr val="203864"/>
                </a:solidFill>
                <a:latin typeface="Arial"/>
                <a:cs typeface="Arial"/>
              </a:rPr>
              <a:t> </a:t>
            </a:r>
            <a:r>
              <a:rPr sz="3200" b="1">
                <a:solidFill>
                  <a:srgbClr val="203864"/>
                </a:solidFill>
                <a:latin typeface="Arial"/>
                <a:cs typeface="Arial"/>
              </a:rPr>
              <a:t>SUID</a:t>
            </a:r>
            <a:r>
              <a:rPr sz="3200" b="1" spc="-35">
                <a:solidFill>
                  <a:srgbClr val="203864"/>
                </a:solidFill>
                <a:latin typeface="Arial"/>
                <a:cs typeface="Arial"/>
              </a:rPr>
              <a:t> </a:t>
            </a:r>
            <a:r>
              <a:rPr sz="3200" b="1">
                <a:solidFill>
                  <a:srgbClr val="203864"/>
                </a:solidFill>
                <a:latin typeface="Arial"/>
                <a:cs typeface="Arial"/>
              </a:rPr>
              <a:t>Case</a:t>
            </a:r>
            <a:r>
              <a:rPr sz="3200" b="1" spc="-40">
                <a:solidFill>
                  <a:srgbClr val="203864"/>
                </a:solidFill>
                <a:latin typeface="Arial"/>
                <a:cs typeface="Arial"/>
              </a:rPr>
              <a:t> </a:t>
            </a:r>
            <a:r>
              <a:rPr sz="3200" b="1" spc="-10">
                <a:solidFill>
                  <a:srgbClr val="203864"/>
                </a:solidFill>
                <a:latin typeface="Arial"/>
                <a:cs typeface="Arial"/>
              </a:rPr>
              <a:t>Registry?</a:t>
            </a:r>
            <a:endParaRPr sz="320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6641629"/>
            <a:ext cx="12188825" cy="216535"/>
          </a:xfrm>
          <a:custGeom>
            <a:avLst/>
            <a:gdLst/>
            <a:ahLst/>
            <a:cxnLst/>
            <a:rect l="l" t="t" r="r" b="b"/>
            <a:pathLst>
              <a:path w="12188825" h="216534">
                <a:moveTo>
                  <a:pt x="12188825" y="0"/>
                </a:moveTo>
                <a:lnTo>
                  <a:pt x="0" y="0"/>
                </a:lnTo>
                <a:lnTo>
                  <a:pt x="0" y="216369"/>
                </a:lnTo>
                <a:lnTo>
                  <a:pt x="12188825" y="216369"/>
                </a:lnTo>
                <a:lnTo>
                  <a:pt x="12188825" y="0"/>
                </a:lnTo>
                <a:close/>
              </a:path>
            </a:pathLst>
          </a:custGeom>
          <a:solidFill>
            <a:srgbClr val="2038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7635590" y="6260083"/>
            <a:ext cx="44297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>
                <a:solidFill>
                  <a:srgbClr val="7F7F7F"/>
                </a:solidFill>
                <a:latin typeface="Calibri"/>
                <a:cs typeface="Calibri"/>
              </a:rPr>
              <a:t>Description</a:t>
            </a:r>
            <a:r>
              <a:rPr sz="1200" spc="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7F7F7F"/>
                </a:solidFill>
                <a:latin typeface="Calibri"/>
                <a:cs typeface="Calibri"/>
              </a:rPr>
              <a:t>and</a:t>
            </a:r>
            <a:r>
              <a:rPr sz="1200" spc="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7F7F7F"/>
                </a:solidFill>
                <a:latin typeface="Calibri"/>
                <a:cs typeface="Calibri"/>
              </a:rPr>
              <a:t>map</a:t>
            </a:r>
            <a:r>
              <a:rPr sz="1200" spc="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7F7F7F"/>
                </a:solidFill>
                <a:latin typeface="Calibri"/>
                <a:cs typeface="Calibri"/>
              </a:rPr>
              <a:t>from:</a:t>
            </a:r>
            <a:r>
              <a:rPr sz="1200" spc="4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200" spc="-20">
                <a:solidFill>
                  <a:srgbClr val="7F7F7F"/>
                </a:solidFill>
                <a:latin typeface="Calibri"/>
                <a:cs typeface="Calibri"/>
              </a:rPr>
              <a:t>https://</a:t>
            </a:r>
            <a:r>
              <a:rPr sz="1200" spc="-20">
                <a:solidFill>
                  <a:srgbClr val="7F7F7F"/>
                </a:solidFill>
                <a:latin typeface="Calibri"/>
                <a:cs typeface="Calibri"/>
                <a:hlinkClick r:id="rId2"/>
              </a:rPr>
              <a:t>www.cdc.gov/sids/case-</a:t>
            </a:r>
            <a:r>
              <a:rPr sz="1200" spc="-10">
                <a:solidFill>
                  <a:srgbClr val="7F7F7F"/>
                </a:solidFill>
                <a:latin typeface="Calibri"/>
                <a:cs typeface="Calibri"/>
                <a:hlinkClick r:id="rId2"/>
              </a:rPr>
              <a:t>registry.htm</a:t>
            </a:r>
            <a:endParaRPr sz="1200">
              <a:latin typeface="Calibri"/>
              <a:cs typeface="Calibri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9687935" y="2866611"/>
            <a:ext cx="329565" cy="271145"/>
            <a:chOff x="9687935" y="2866611"/>
            <a:chExt cx="329565" cy="271145"/>
          </a:xfrm>
        </p:grpSpPr>
        <p:sp>
          <p:nvSpPr>
            <p:cNvPr id="6" name="object 6"/>
            <p:cNvSpPr/>
            <p:nvPr/>
          </p:nvSpPr>
          <p:spPr>
            <a:xfrm>
              <a:off x="9694285" y="2872962"/>
              <a:ext cx="316865" cy="258445"/>
            </a:xfrm>
            <a:custGeom>
              <a:avLst/>
              <a:gdLst/>
              <a:ahLst/>
              <a:cxnLst/>
              <a:rect l="l" t="t" r="r" b="b"/>
              <a:pathLst>
                <a:path w="316865" h="258444">
                  <a:moveTo>
                    <a:pt x="208464" y="0"/>
                  </a:moveTo>
                  <a:lnTo>
                    <a:pt x="230830" y="31606"/>
                  </a:lnTo>
                  <a:lnTo>
                    <a:pt x="0" y="194950"/>
                  </a:lnTo>
                  <a:lnTo>
                    <a:pt x="44731" y="258163"/>
                  </a:lnTo>
                  <a:lnTo>
                    <a:pt x="275562" y="94820"/>
                  </a:lnTo>
                  <a:lnTo>
                    <a:pt x="297928" y="126427"/>
                  </a:lnTo>
                  <a:lnTo>
                    <a:pt x="316410" y="18482"/>
                  </a:lnTo>
                  <a:lnTo>
                    <a:pt x="208464" y="0"/>
                  </a:lnTo>
                  <a:close/>
                </a:path>
              </a:pathLst>
            </a:custGeom>
            <a:solidFill>
              <a:srgbClr val="C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9694285" y="2872961"/>
              <a:ext cx="316865" cy="258445"/>
            </a:xfrm>
            <a:custGeom>
              <a:avLst/>
              <a:gdLst/>
              <a:ahLst/>
              <a:cxnLst/>
              <a:rect l="l" t="t" r="r" b="b"/>
              <a:pathLst>
                <a:path w="316865" h="258444">
                  <a:moveTo>
                    <a:pt x="0" y="194949"/>
                  </a:moveTo>
                  <a:lnTo>
                    <a:pt x="230830" y="31606"/>
                  </a:lnTo>
                  <a:lnTo>
                    <a:pt x="208464" y="0"/>
                  </a:lnTo>
                  <a:lnTo>
                    <a:pt x="316409" y="18481"/>
                  </a:lnTo>
                  <a:lnTo>
                    <a:pt x="297928" y="126426"/>
                  </a:lnTo>
                  <a:lnTo>
                    <a:pt x="275562" y="94820"/>
                  </a:lnTo>
                  <a:lnTo>
                    <a:pt x="44731" y="258163"/>
                  </a:lnTo>
                  <a:lnTo>
                    <a:pt x="0" y="194949"/>
                  </a:lnTo>
                  <a:close/>
                </a:path>
              </a:pathLst>
            </a:custGeom>
            <a:ln w="12699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557355" y="1739900"/>
            <a:ext cx="11201400" cy="4225925"/>
          </a:xfrm>
          <a:prstGeom prst="rect">
            <a:avLst/>
          </a:prstGeom>
        </p:spPr>
        <p:txBody>
          <a:bodyPr vert="horz" wrap="square" lIns="0" tIns="26670" rIns="0" bIns="0" rtlCol="0">
            <a:spAutoFit/>
          </a:bodyPr>
          <a:lstStyle/>
          <a:p>
            <a:pPr marL="298450" marR="5534025" indent="-285750">
              <a:lnSpc>
                <a:spcPts val="2110"/>
              </a:lnSpc>
              <a:spcBef>
                <a:spcPts val="210"/>
              </a:spcBef>
              <a:buFont typeface="Arial"/>
              <a:buChar char="•"/>
              <a:tabLst>
                <a:tab pos="298450" algn="l"/>
              </a:tabLst>
            </a:pPr>
            <a:r>
              <a:rPr sz="1800">
                <a:latin typeface="Calibri"/>
                <a:cs typeface="Calibri"/>
              </a:rPr>
              <a:t>CDC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funds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SUID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surveillance</a:t>
            </a:r>
            <a:r>
              <a:rPr sz="1800" spc="-2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in</a:t>
            </a:r>
            <a:r>
              <a:rPr sz="1800" spc="-2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32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 spc="-10">
                <a:latin typeface="Calibri"/>
                <a:cs typeface="Calibri"/>
              </a:rPr>
              <a:t>states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and</a:t>
            </a:r>
            <a:r>
              <a:rPr sz="1800" spc="-25">
                <a:latin typeface="Calibri"/>
                <a:cs typeface="Calibri"/>
              </a:rPr>
              <a:t> </a:t>
            </a:r>
            <a:r>
              <a:rPr sz="1800" spc="-10">
                <a:latin typeface="Calibri"/>
                <a:cs typeface="Calibri"/>
              </a:rPr>
              <a:t>jurisdictions, </a:t>
            </a:r>
            <a:r>
              <a:rPr sz="1800">
                <a:latin typeface="Calibri"/>
                <a:cs typeface="Calibri"/>
              </a:rPr>
              <a:t>covering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about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2</a:t>
            </a:r>
            <a:r>
              <a:rPr sz="1800" b="1" spc="-25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in</a:t>
            </a:r>
            <a:r>
              <a:rPr sz="1800" b="1" spc="-30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5</a:t>
            </a:r>
            <a:r>
              <a:rPr sz="1800" b="1" spc="-2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SUID</a:t>
            </a:r>
            <a:r>
              <a:rPr sz="1800" spc="-2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cases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in</a:t>
            </a:r>
            <a:r>
              <a:rPr sz="1800" spc="-2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the</a:t>
            </a:r>
            <a:r>
              <a:rPr sz="1800" spc="-2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United</a:t>
            </a:r>
            <a:r>
              <a:rPr sz="1800" spc="-25">
                <a:latin typeface="Calibri"/>
                <a:cs typeface="Calibri"/>
              </a:rPr>
              <a:t> </a:t>
            </a:r>
            <a:r>
              <a:rPr sz="1800" spc="-10">
                <a:latin typeface="Calibri"/>
                <a:cs typeface="Calibri"/>
              </a:rPr>
              <a:t>States.</a:t>
            </a:r>
            <a:endParaRPr sz="1800">
              <a:latin typeface="Calibri"/>
              <a:cs typeface="Calibri"/>
            </a:endParaRPr>
          </a:p>
          <a:p>
            <a:pPr marL="298450" marR="5430520" indent="-285750">
              <a:lnSpc>
                <a:spcPct val="99700"/>
              </a:lnSpc>
              <a:spcBef>
                <a:spcPts val="2180"/>
              </a:spcBef>
              <a:buFont typeface="Arial"/>
              <a:buChar char="•"/>
              <a:tabLst>
                <a:tab pos="298450" algn="l"/>
              </a:tabLst>
            </a:pPr>
            <a:r>
              <a:rPr sz="1800">
                <a:latin typeface="Calibri"/>
                <a:cs typeface="Calibri"/>
              </a:rPr>
              <a:t>SUID</a:t>
            </a:r>
            <a:r>
              <a:rPr sz="1800" spc="-2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CRs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build</a:t>
            </a:r>
            <a:r>
              <a:rPr sz="1800" spc="-2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on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child</a:t>
            </a:r>
            <a:r>
              <a:rPr sz="1800" b="1" spc="-35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death</a:t>
            </a:r>
            <a:r>
              <a:rPr sz="1800" b="1" spc="-35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review</a:t>
            </a:r>
            <a:r>
              <a:rPr sz="1800" b="1" spc="-30">
                <a:latin typeface="Calibri"/>
                <a:cs typeface="Calibri"/>
              </a:rPr>
              <a:t> </a:t>
            </a:r>
            <a:r>
              <a:rPr sz="1800" spc="-10">
                <a:latin typeface="Calibri"/>
                <a:cs typeface="Calibri"/>
              </a:rPr>
              <a:t>programs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and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 spc="-25">
                <a:latin typeface="Calibri"/>
                <a:cs typeface="Calibri"/>
              </a:rPr>
              <a:t>use</a:t>
            </a:r>
            <a:r>
              <a:rPr sz="1800" spc="50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the</a:t>
            </a:r>
            <a:r>
              <a:rPr sz="1800" spc="-45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National</a:t>
            </a:r>
            <a:r>
              <a:rPr sz="1800" b="1" spc="-50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Center</a:t>
            </a:r>
            <a:r>
              <a:rPr sz="1800" b="1" spc="-45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for</a:t>
            </a:r>
            <a:r>
              <a:rPr sz="1800" b="1" spc="-50">
                <a:latin typeface="Calibri"/>
                <a:cs typeface="Calibri"/>
              </a:rPr>
              <a:t> </a:t>
            </a:r>
            <a:r>
              <a:rPr sz="1800" b="1" spc="-10">
                <a:latin typeface="Calibri"/>
                <a:cs typeface="Calibri"/>
              </a:rPr>
              <a:t>Fatality</a:t>
            </a:r>
            <a:r>
              <a:rPr sz="1800" b="1" spc="-50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Review</a:t>
            </a:r>
            <a:r>
              <a:rPr sz="1800" b="1" spc="-45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and</a:t>
            </a:r>
            <a:r>
              <a:rPr sz="1800" b="1" spc="-50">
                <a:latin typeface="Calibri"/>
                <a:cs typeface="Calibri"/>
              </a:rPr>
              <a:t> </a:t>
            </a:r>
            <a:r>
              <a:rPr sz="1800" b="1" spc="-10">
                <a:latin typeface="Calibri"/>
                <a:cs typeface="Calibri"/>
              </a:rPr>
              <a:t>Prevention’s </a:t>
            </a:r>
            <a:r>
              <a:rPr sz="1800" b="1">
                <a:latin typeface="Calibri"/>
                <a:cs typeface="Calibri"/>
              </a:rPr>
              <a:t>Case</a:t>
            </a:r>
            <a:r>
              <a:rPr sz="1800" b="1" spc="-65">
                <a:latin typeface="Calibri"/>
                <a:cs typeface="Calibri"/>
              </a:rPr>
              <a:t> </a:t>
            </a:r>
            <a:r>
              <a:rPr sz="1800" b="1">
                <a:latin typeface="Calibri"/>
                <a:cs typeface="Calibri"/>
              </a:rPr>
              <a:t>Reporting</a:t>
            </a:r>
            <a:r>
              <a:rPr sz="1800" b="1" spc="-60">
                <a:latin typeface="Calibri"/>
                <a:cs typeface="Calibri"/>
              </a:rPr>
              <a:t> </a:t>
            </a:r>
            <a:r>
              <a:rPr sz="1800" b="1" spc="-10">
                <a:latin typeface="Calibri"/>
                <a:cs typeface="Calibri"/>
              </a:rPr>
              <a:t>System</a:t>
            </a:r>
            <a:r>
              <a:rPr sz="1800" spc="-10">
                <a:latin typeface="Calibri"/>
                <a:cs typeface="Calibri"/>
              </a:rPr>
              <a:t>,</a:t>
            </a:r>
            <a:r>
              <a:rPr sz="1800" spc="-5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bringing</a:t>
            </a:r>
            <a:r>
              <a:rPr sz="1800" spc="-5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together</a:t>
            </a:r>
            <a:r>
              <a:rPr sz="1800" spc="-60">
                <a:latin typeface="Calibri"/>
                <a:cs typeface="Calibri"/>
              </a:rPr>
              <a:t> </a:t>
            </a:r>
            <a:r>
              <a:rPr sz="1800" spc="-10">
                <a:latin typeface="Calibri"/>
                <a:cs typeface="Calibri"/>
              </a:rPr>
              <a:t>multidisciplinary information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about</a:t>
            </a:r>
            <a:r>
              <a:rPr sz="1800" spc="-4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the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 spc="-10">
                <a:latin typeface="Calibri"/>
                <a:cs typeface="Calibri"/>
              </a:rPr>
              <a:t>circumstances</a:t>
            </a:r>
            <a:r>
              <a:rPr sz="1800" spc="-4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surrounding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 spc="-20">
                <a:latin typeface="Calibri"/>
                <a:cs typeface="Calibri"/>
              </a:rPr>
              <a:t>SUID </a:t>
            </a:r>
            <a:r>
              <a:rPr sz="1800" spc="-10">
                <a:latin typeface="Calibri"/>
                <a:cs typeface="Calibri"/>
              </a:rPr>
              <a:t>cases.</a:t>
            </a:r>
            <a:endParaRPr sz="1800">
              <a:latin typeface="Calibri"/>
              <a:cs typeface="Calibri"/>
            </a:endParaRPr>
          </a:p>
          <a:p>
            <a:pPr marL="298450" marR="5559425" indent="-285750">
              <a:lnSpc>
                <a:spcPct val="99400"/>
              </a:lnSpc>
              <a:spcBef>
                <a:spcPts val="2150"/>
              </a:spcBef>
              <a:buFont typeface="Arial"/>
              <a:buChar char="•"/>
              <a:tabLst>
                <a:tab pos="298450" algn="l"/>
              </a:tabLst>
            </a:pPr>
            <a:r>
              <a:rPr sz="1800" spc="-10">
                <a:latin typeface="Calibri"/>
                <a:cs typeface="Calibri"/>
              </a:rPr>
              <a:t>Participating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 spc="-10">
                <a:latin typeface="Calibri"/>
                <a:cs typeface="Calibri"/>
              </a:rPr>
              <a:t>states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and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jurisdictions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use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data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about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 spc="-20">
                <a:latin typeface="Calibri"/>
                <a:cs typeface="Calibri"/>
              </a:rPr>
              <a:t>SUID </a:t>
            </a:r>
            <a:r>
              <a:rPr sz="1800">
                <a:latin typeface="Calibri"/>
                <a:cs typeface="Calibri"/>
              </a:rPr>
              <a:t>trends</a:t>
            </a:r>
            <a:r>
              <a:rPr sz="1800" spc="-4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and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 spc="-10">
                <a:latin typeface="Calibri"/>
                <a:cs typeface="Calibri"/>
              </a:rPr>
              <a:t>circumstances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to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develop</a:t>
            </a:r>
            <a:r>
              <a:rPr sz="1800" spc="-30">
                <a:latin typeface="Calibri"/>
                <a:cs typeface="Calibri"/>
              </a:rPr>
              <a:t> </a:t>
            </a:r>
            <a:r>
              <a:rPr sz="1800" spc="-10">
                <a:latin typeface="Calibri"/>
                <a:cs typeface="Calibri"/>
              </a:rPr>
              <a:t>prevention approaches</a:t>
            </a:r>
            <a:r>
              <a:rPr sz="1800" spc="-4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and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 spc="-10">
                <a:latin typeface="Calibri"/>
                <a:cs typeface="Calibri"/>
              </a:rPr>
              <a:t>strategies</a:t>
            </a:r>
            <a:r>
              <a:rPr sz="1800" spc="-4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to</a:t>
            </a:r>
            <a:r>
              <a:rPr sz="1800" spc="-40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reduce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>
                <a:latin typeface="Calibri"/>
                <a:cs typeface="Calibri"/>
              </a:rPr>
              <a:t>future</a:t>
            </a:r>
            <a:r>
              <a:rPr sz="1800" spc="-35">
                <a:latin typeface="Calibri"/>
                <a:cs typeface="Calibri"/>
              </a:rPr>
              <a:t> </a:t>
            </a:r>
            <a:r>
              <a:rPr sz="1800" spc="-10">
                <a:latin typeface="Calibri"/>
                <a:cs typeface="Calibri"/>
              </a:rPr>
              <a:t>infant</a:t>
            </a:r>
            <a:r>
              <a:rPr sz="1800" spc="-40">
                <a:latin typeface="Calibri"/>
                <a:cs typeface="Calibri"/>
              </a:rPr>
              <a:t> </a:t>
            </a:r>
            <a:r>
              <a:rPr sz="1800" spc="-10">
                <a:latin typeface="Calibri"/>
                <a:cs typeface="Calibri"/>
              </a:rPr>
              <a:t>deaths.</a:t>
            </a:r>
            <a:endParaRPr sz="180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8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640"/>
              </a:spcBef>
            </a:pPr>
            <a:endParaRPr sz="1800">
              <a:latin typeface="Calibri"/>
              <a:cs typeface="Calibri"/>
            </a:endParaRPr>
          </a:p>
          <a:p>
            <a:pPr marL="6630670">
              <a:lnSpc>
                <a:spcPct val="100000"/>
              </a:lnSpc>
              <a:spcBef>
                <a:spcPts val="5"/>
              </a:spcBef>
            </a:pPr>
            <a:r>
              <a:rPr sz="1800" b="1" i="1">
                <a:solidFill>
                  <a:srgbClr val="C00000"/>
                </a:solidFill>
                <a:latin typeface="Calibri"/>
                <a:cs typeface="Calibri"/>
              </a:rPr>
              <a:t>Cook</a:t>
            </a:r>
            <a:r>
              <a:rPr sz="1800" b="1" i="1" spc="-5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1800" b="1" i="1">
                <a:solidFill>
                  <a:srgbClr val="C00000"/>
                </a:solidFill>
                <a:latin typeface="Calibri"/>
                <a:cs typeface="Calibri"/>
              </a:rPr>
              <a:t>County’s</a:t>
            </a:r>
            <a:r>
              <a:rPr sz="1800" b="1" i="1" spc="-45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1800" b="1" i="1">
                <a:solidFill>
                  <a:srgbClr val="C00000"/>
                </a:solidFill>
                <a:latin typeface="Calibri"/>
                <a:cs typeface="Calibri"/>
              </a:rPr>
              <a:t>SUID</a:t>
            </a:r>
            <a:r>
              <a:rPr sz="1800" b="1" i="1" spc="-4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1800" b="1" i="1">
                <a:solidFill>
                  <a:srgbClr val="C00000"/>
                </a:solidFill>
                <a:latin typeface="Calibri"/>
                <a:cs typeface="Calibri"/>
              </a:rPr>
              <a:t>Case</a:t>
            </a:r>
            <a:r>
              <a:rPr sz="1800" b="1" i="1" spc="-45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1800" b="1" i="1">
                <a:solidFill>
                  <a:srgbClr val="C00000"/>
                </a:solidFill>
                <a:latin typeface="Calibri"/>
                <a:cs typeface="Calibri"/>
              </a:rPr>
              <a:t>Registry</a:t>
            </a:r>
            <a:r>
              <a:rPr sz="1800" b="1" i="1" spc="-4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1800" b="1" i="1">
                <a:solidFill>
                  <a:srgbClr val="C00000"/>
                </a:solidFill>
                <a:latin typeface="Calibri"/>
                <a:cs typeface="Calibri"/>
              </a:rPr>
              <a:t>began</a:t>
            </a:r>
            <a:r>
              <a:rPr sz="1800" b="1" i="1" spc="-45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1800" b="1" i="1">
                <a:solidFill>
                  <a:srgbClr val="C00000"/>
                </a:solidFill>
                <a:latin typeface="Calibri"/>
                <a:cs typeface="Calibri"/>
              </a:rPr>
              <a:t>in</a:t>
            </a:r>
            <a:r>
              <a:rPr sz="1800" b="1" i="1" spc="-4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1800" b="1" i="1" spc="-20">
                <a:solidFill>
                  <a:srgbClr val="C00000"/>
                </a:solidFill>
                <a:latin typeface="Calibri"/>
                <a:cs typeface="Calibri"/>
              </a:rPr>
              <a:t>2019</a:t>
            </a:r>
            <a:endParaRPr sz="1800">
              <a:latin typeface="Calibri"/>
              <a:cs typeface="Calibri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6432985" y="1219948"/>
            <a:ext cx="5756275" cy="4437380"/>
            <a:chOff x="6432985" y="1219948"/>
            <a:chExt cx="5756275" cy="4437380"/>
          </a:xfrm>
        </p:grpSpPr>
        <p:pic>
          <p:nvPicPr>
            <p:cNvPr id="10" name="object 1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432985" y="1219948"/>
              <a:ext cx="5755839" cy="4437079"/>
            </a:xfrm>
            <a:prstGeom prst="rect">
              <a:avLst/>
            </a:prstGeom>
          </p:spPr>
        </p:pic>
        <p:sp>
          <p:nvSpPr>
            <p:cNvPr id="11" name="object 11"/>
            <p:cNvSpPr/>
            <p:nvPr/>
          </p:nvSpPr>
          <p:spPr>
            <a:xfrm>
              <a:off x="9888250" y="2886814"/>
              <a:ext cx="316865" cy="258445"/>
            </a:xfrm>
            <a:custGeom>
              <a:avLst/>
              <a:gdLst/>
              <a:ahLst/>
              <a:cxnLst/>
              <a:rect l="l" t="t" r="r" b="b"/>
              <a:pathLst>
                <a:path w="316865" h="258444">
                  <a:moveTo>
                    <a:pt x="208465" y="0"/>
                  </a:moveTo>
                  <a:lnTo>
                    <a:pt x="230831" y="31607"/>
                  </a:lnTo>
                  <a:lnTo>
                    <a:pt x="0" y="194950"/>
                  </a:lnTo>
                  <a:lnTo>
                    <a:pt x="44731" y="258163"/>
                  </a:lnTo>
                  <a:lnTo>
                    <a:pt x="275563" y="94820"/>
                  </a:lnTo>
                  <a:lnTo>
                    <a:pt x="297928" y="126427"/>
                  </a:lnTo>
                  <a:lnTo>
                    <a:pt x="316410" y="18482"/>
                  </a:lnTo>
                  <a:lnTo>
                    <a:pt x="208465" y="0"/>
                  </a:lnTo>
                  <a:close/>
                </a:path>
              </a:pathLst>
            </a:custGeom>
            <a:solidFill>
              <a:srgbClr val="C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9888250" y="2886814"/>
              <a:ext cx="316865" cy="258445"/>
            </a:xfrm>
            <a:custGeom>
              <a:avLst/>
              <a:gdLst/>
              <a:ahLst/>
              <a:cxnLst/>
              <a:rect l="l" t="t" r="r" b="b"/>
              <a:pathLst>
                <a:path w="316865" h="258444">
                  <a:moveTo>
                    <a:pt x="0" y="194949"/>
                  </a:moveTo>
                  <a:lnTo>
                    <a:pt x="230830" y="31606"/>
                  </a:lnTo>
                  <a:lnTo>
                    <a:pt x="208464" y="0"/>
                  </a:lnTo>
                  <a:lnTo>
                    <a:pt x="316409" y="18481"/>
                  </a:lnTo>
                  <a:lnTo>
                    <a:pt x="297928" y="126426"/>
                  </a:lnTo>
                  <a:lnTo>
                    <a:pt x="275562" y="94820"/>
                  </a:lnTo>
                  <a:lnTo>
                    <a:pt x="44731" y="258163"/>
                  </a:lnTo>
                  <a:lnTo>
                    <a:pt x="0" y="194949"/>
                  </a:lnTo>
                  <a:close/>
                </a:path>
              </a:pathLst>
            </a:custGeom>
            <a:ln w="12699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91843" y="306324"/>
            <a:ext cx="2667000" cy="6959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b="0">
                <a:solidFill>
                  <a:srgbClr val="4472C4"/>
                </a:solidFill>
                <a:latin typeface="Calibri"/>
                <a:cs typeface="Calibri"/>
              </a:rPr>
              <a:t>Contact</a:t>
            </a:r>
            <a:r>
              <a:rPr b="0" spc="-229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b="0" spc="-25">
                <a:solidFill>
                  <a:srgbClr val="4472C4"/>
                </a:solidFill>
                <a:latin typeface="Calibri"/>
                <a:cs typeface="Calibri"/>
              </a:rPr>
              <a:t>Us!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5754623" y="1839455"/>
            <a:ext cx="6318885" cy="2360930"/>
            <a:chOff x="5754623" y="1839455"/>
            <a:chExt cx="6318885" cy="2360930"/>
          </a:xfrm>
        </p:grpSpPr>
        <p:sp>
          <p:nvSpPr>
            <p:cNvPr id="4" name="object 4"/>
            <p:cNvSpPr/>
            <p:nvPr/>
          </p:nvSpPr>
          <p:spPr>
            <a:xfrm>
              <a:off x="5953784" y="1839455"/>
              <a:ext cx="5992495" cy="2028189"/>
            </a:xfrm>
            <a:custGeom>
              <a:avLst/>
              <a:gdLst/>
              <a:ahLst/>
              <a:cxnLst/>
              <a:rect l="l" t="t" r="r" b="b"/>
              <a:pathLst>
                <a:path w="5992495" h="2028189">
                  <a:moveTo>
                    <a:pt x="5992408" y="0"/>
                  </a:moveTo>
                  <a:lnTo>
                    <a:pt x="0" y="0"/>
                  </a:lnTo>
                  <a:lnTo>
                    <a:pt x="0" y="2027736"/>
                  </a:lnTo>
                  <a:lnTo>
                    <a:pt x="5992408" y="2027736"/>
                  </a:lnTo>
                  <a:lnTo>
                    <a:pt x="5992408" y="0"/>
                  </a:lnTo>
                  <a:close/>
                </a:path>
              </a:pathLst>
            </a:custGeom>
            <a:solidFill>
              <a:srgbClr val="007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49839" y="2788920"/>
              <a:ext cx="1923288" cy="1411223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77839" y="2909253"/>
              <a:ext cx="238375" cy="571201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10277839" y="348045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F2F1E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" name="object 8"/>
            <p:cNvPicPr/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16214" y="2909253"/>
              <a:ext cx="1429978" cy="596760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77839" y="2909254"/>
              <a:ext cx="1668352" cy="1167961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77839" y="3480454"/>
              <a:ext cx="1429978" cy="596761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707817" y="3506014"/>
              <a:ext cx="238375" cy="571201"/>
            </a:xfrm>
            <a:prstGeom prst="rect">
              <a:avLst/>
            </a:prstGeom>
          </p:spPr>
        </p:pic>
        <p:sp>
          <p:nvSpPr>
            <p:cNvPr id="12" name="object 12"/>
            <p:cNvSpPr/>
            <p:nvPr/>
          </p:nvSpPr>
          <p:spPr>
            <a:xfrm>
              <a:off x="11707816" y="4077215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1" y="0"/>
                  </a:lnTo>
                </a:path>
              </a:pathLst>
            </a:custGeom>
            <a:ln w="3175">
              <a:solidFill>
                <a:srgbClr val="EEEEE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0252923" y="2884336"/>
              <a:ext cx="1718310" cy="1217930"/>
            </a:xfrm>
            <a:custGeom>
              <a:avLst/>
              <a:gdLst/>
              <a:ahLst/>
              <a:cxnLst/>
              <a:rect l="l" t="t" r="r" b="b"/>
              <a:pathLst>
                <a:path w="1718309" h="1217929">
                  <a:moveTo>
                    <a:pt x="253047" y="0"/>
                  </a:moveTo>
                  <a:lnTo>
                    <a:pt x="1718186" y="611433"/>
                  </a:lnTo>
                  <a:lnTo>
                    <a:pt x="1465138" y="1217795"/>
                  </a:lnTo>
                  <a:lnTo>
                    <a:pt x="0" y="606362"/>
                  </a:lnTo>
                  <a:lnTo>
                    <a:pt x="253047" y="0"/>
                  </a:lnTo>
                  <a:close/>
                </a:path>
              </a:pathLst>
            </a:custGeom>
            <a:ln w="3809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4" name="object 14"/>
            <p:cNvPicPr/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1455" y="2904744"/>
              <a:ext cx="1795272" cy="899159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719577" y="3015843"/>
              <a:ext cx="1558262" cy="678298"/>
            </a:xfrm>
            <a:prstGeom prst="rect">
              <a:avLst/>
            </a:prstGeom>
          </p:spPr>
        </p:pic>
        <p:sp>
          <p:nvSpPr>
            <p:cNvPr id="16" name="object 16"/>
            <p:cNvSpPr/>
            <p:nvPr/>
          </p:nvSpPr>
          <p:spPr>
            <a:xfrm>
              <a:off x="8700527" y="2996793"/>
              <a:ext cx="1596390" cy="716915"/>
            </a:xfrm>
            <a:custGeom>
              <a:avLst/>
              <a:gdLst/>
              <a:ahLst/>
              <a:cxnLst/>
              <a:rect l="l" t="t" r="r" b="b"/>
              <a:pathLst>
                <a:path w="1596390" h="716914">
                  <a:moveTo>
                    <a:pt x="0" y="0"/>
                  </a:moveTo>
                  <a:lnTo>
                    <a:pt x="1596362" y="0"/>
                  </a:lnTo>
                  <a:lnTo>
                    <a:pt x="1596362" y="716398"/>
                  </a:lnTo>
                  <a:lnTo>
                    <a:pt x="0" y="716398"/>
                  </a:lnTo>
                  <a:lnTo>
                    <a:pt x="0" y="0"/>
                  </a:lnTo>
                  <a:close/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7" name="object 17"/>
            <p:cNvPicPr/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12863" y="2877312"/>
              <a:ext cx="1953768" cy="1100327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36747" y="2993291"/>
              <a:ext cx="106028" cy="573109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42775" y="2993291"/>
              <a:ext cx="1601172" cy="296226"/>
            </a:xfrm>
            <a:prstGeom prst="rect">
              <a:avLst/>
            </a:prstGeom>
          </p:spPr>
        </p:pic>
        <p:pic>
          <p:nvPicPr>
            <p:cNvPr id="20" name="object 20"/>
            <p:cNvPicPr/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36747" y="2993291"/>
              <a:ext cx="1707201" cy="869335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36747" y="3566399"/>
              <a:ext cx="1601173" cy="296226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37920" y="3289516"/>
              <a:ext cx="106028" cy="573109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8637919" y="3862626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1" y="0"/>
                  </a:lnTo>
                </a:path>
              </a:pathLst>
            </a:custGeom>
            <a:ln w="3175">
              <a:solidFill>
                <a:srgbClr val="C0B1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7014549" y="2971093"/>
              <a:ext cx="1751964" cy="913765"/>
            </a:xfrm>
            <a:custGeom>
              <a:avLst/>
              <a:gdLst/>
              <a:ahLst/>
              <a:cxnLst/>
              <a:rect l="l" t="t" r="r" b="b"/>
              <a:pathLst>
                <a:path w="1751965" h="913764">
                  <a:moveTo>
                    <a:pt x="112959" y="0"/>
                  </a:moveTo>
                  <a:lnTo>
                    <a:pt x="1751596" y="303157"/>
                  </a:lnTo>
                  <a:lnTo>
                    <a:pt x="1638636" y="913731"/>
                  </a:lnTo>
                  <a:lnTo>
                    <a:pt x="0" y="610573"/>
                  </a:lnTo>
                  <a:lnTo>
                    <a:pt x="112959" y="0"/>
                  </a:lnTo>
                  <a:close/>
                </a:path>
              </a:pathLst>
            </a:custGeom>
            <a:ln w="3809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5" name="object 25"/>
            <p:cNvPicPr/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54623" y="2767584"/>
              <a:ext cx="1356359" cy="1176527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72886" y="2986575"/>
              <a:ext cx="85040" cy="841495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72886" y="2881915"/>
              <a:ext cx="1035627" cy="104660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72886" y="2881916"/>
              <a:ext cx="1120668" cy="946154"/>
            </a:xfrm>
            <a:prstGeom prst="rect">
              <a:avLst/>
            </a:prstGeom>
          </p:spPr>
        </p:pic>
        <p:pic>
          <p:nvPicPr>
            <p:cNvPr id="29" name="object 29"/>
            <p:cNvPicPr/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57926" y="3723410"/>
              <a:ext cx="1035628" cy="104660"/>
            </a:xfrm>
            <a:prstGeom prst="rect">
              <a:avLst/>
            </a:prstGeom>
          </p:spPr>
        </p:pic>
        <p:pic>
          <p:nvPicPr>
            <p:cNvPr id="30" name="object 30"/>
            <p:cNvPicPr/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08513" y="2881915"/>
              <a:ext cx="85040" cy="841495"/>
            </a:xfrm>
            <a:prstGeom prst="rect">
              <a:avLst/>
            </a:prstGeom>
          </p:spPr>
        </p:pic>
        <p:sp>
          <p:nvSpPr>
            <p:cNvPr id="31" name="object 31"/>
            <p:cNvSpPr/>
            <p:nvPr/>
          </p:nvSpPr>
          <p:spPr>
            <a:xfrm>
              <a:off x="5852017" y="2861047"/>
              <a:ext cx="1162685" cy="988060"/>
            </a:xfrm>
            <a:custGeom>
              <a:avLst/>
              <a:gdLst/>
              <a:ahLst/>
              <a:cxnLst/>
              <a:rect l="l" t="t" r="r" b="b"/>
              <a:pathLst>
                <a:path w="1162684" h="988060">
                  <a:moveTo>
                    <a:pt x="0" y="108490"/>
                  </a:moveTo>
                  <a:lnTo>
                    <a:pt x="1073534" y="0"/>
                  </a:lnTo>
                  <a:lnTo>
                    <a:pt x="1162406" y="879401"/>
                  </a:lnTo>
                  <a:lnTo>
                    <a:pt x="88871" y="987892"/>
                  </a:lnTo>
                  <a:lnTo>
                    <a:pt x="0" y="108490"/>
                  </a:lnTo>
                  <a:close/>
                </a:path>
              </a:pathLst>
            </a:custGeom>
            <a:ln w="3809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2" name="object 32"/>
          <p:cNvSpPr txBox="1"/>
          <p:nvPr/>
        </p:nvSpPr>
        <p:spPr>
          <a:xfrm>
            <a:off x="6641407" y="4348988"/>
            <a:ext cx="4519295" cy="218884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0400"/>
              </a:lnSpc>
              <a:spcBef>
                <a:spcPts val="90"/>
              </a:spcBef>
            </a:pPr>
            <a:r>
              <a:rPr sz="1800" b="1" dirty="0" err="1">
                <a:solidFill>
                  <a:srgbClr val="4472C4"/>
                </a:solidFill>
                <a:latin typeface="Calibri"/>
                <a:cs typeface="Calibri"/>
              </a:rPr>
              <a:t>Rojin</a:t>
            </a:r>
            <a:r>
              <a:rPr sz="1800" b="1" spc="-40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800" b="1" dirty="0" err="1">
                <a:solidFill>
                  <a:srgbClr val="4472C4"/>
                </a:solidFill>
                <a:latin typeface="Calibri"/>
                <a:cs typeface="Calibri"/>
              </a:rPr>
              <a:t>Ahadi</a:t>
            </a:r>
            <a:r>
              <a:rPr sz="1800" b="1" dirty="0">
                <a:solidFill>
                  <a:srgbClr val="4472C4"/>
                </a:solidFill>
                <a:latin typeface="Calibri"/>
                <a:cs typeface="Calibri"/>
              </a:rPr>
              <a:t>:</a:t>
            </a:r>
            <a:r>
              <a:rPr sz="1800" b="1" spc="-40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800" b="1" u="sng" spc="-10" dirty="0">
                <a:solidFill>
                  <a:srgbClr val="0563C1"/>
                </a:solidFill>
                <a:uFill>
                  <a:solidFill>
                    <a:srgbClr val="0563C1"/>
                  </a:solidFill>
                </a:uFill>
                <a:latin typeface="Calibri"/>
                <a:cs typeface="Calibri"/>
                <a:hlinkClick r:id="rId22"/>
              </a:rPr>
              <a:t>seyedeh_r_ahadi@rush.edu</a:t>
            </a:r>
            <a:r>
              <a:rPr sz="1800" b="1" spc="500" dirty="0">
                <a:solidFill>
                  <a:srgbClr val="0563C1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4472C4"/>
                </a:solidFill>
                <a:latin typeface="Calibri"/>
                <a:cs typeface="Calibri"/>
              </a:rPr>
              <a:t>Felicia</a:t>
            </a:r>
            <a:r>
              <a:rPr sz="1800" b="1" spc="-35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4472C4"/>
                </a:solidFill>
                <a:latin typeface="Calibri"/>
                <a:cs typeface="Calibri"/>
              </a:rPr>
              <a:t>Clark:</a:t>
            </a:r>
            <a:r>
              <a:rPr sz="1800" b="1" spc="-35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800" b="1" u="sng" spc="-10" dirty="0">
                <a:solidFill>
                  <a:srgbClr val="0563C1"/>
                </a:solidFill>
                <a:uFill>
                  <a:solidFill>
                    <a:srgbClr val="0563C1"/>
                  </a:solidFill>
                </a:uFill>
                <a:latin typeface="Calibri"/>
                <a:cs typeface="Calibri"/>
                <a:hlinkClick r:id="rId23"/>
              </a:rPr>
              <a:t>feliciaclark798@yahoo.com</a:t>
            </a:r>
            <a:r>
              <a:rPr sz="1800" b="1" spc="-10" dirty="0">
                <a:solidFill>
                  <a:srgbClr val="0563C1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4472C4"/>
                </a:solidFill>
                <a:latin typeface="Calibri"/>
                <a:cs typeface="Calibri"/>
              </a:rPr>
              <a:t>Christie</a:t>
            </a:r>
            <a:r>
              <a:rPr sz="1800" b="1" spc="-80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4472C4"/>
                </a:solidFill>
                <a:latin typeface="Calibri"/>
                <a:cs typeface="Calibri"/>
              </a:rPr>
              <a:t>Lawrence:</a:t>
            </a:r>
            <a:r>
              <a:rPr sz="1800" b="1" spc="-65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800" b="1" u="sng" spc="-10" dirty="0">
                <a:solidFill>
                  <a:srgbClr val="0563C1"/>
                </a:solidFill>
                <a:uFill>
                  <a:solidFill>
                    <a:srgbClr val="0563C1"/>
                  </a:solidFill>
                </a:uFill>
                <a:latin typeface="Calibri"/>
                <a:cs typeface="Calibri"/>
                <a:hlinkClick r:id="rId24"/>
              </a:rPr>
              <a:t>christie_lawrence@rush.edu</a:t>
            </a:r>
            <a:r>
              <a:rPr sz="1800" b="1" spc="-10" dirty="0">
                <a:solidFill>
                  <a:srgbClr val="0563C1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4472C4"/>
                </a:solidFill>
                <a:latin typeface="Calibri"/>
                <a:cs typeface="Calibri"/>
              </a:rPr>
              <a:t>Gina</a:t>
            </a:r>
            <a:r>
              <a:rPr sz="1800" b="1" spc="-35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4472C4"/>
                </a:solidFill>
                <a:latin typeface="Calibri"/>
                <a:cs typeface="Calibri"/>
              </a:rPr>
              <a:t>Lowell:</a:t>
            </a:r>
            <a:r>
              <a:rPr sz="1800" b="1" spc="-25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800" b="1" u="sng" spc="-10" dirty="0">
                <a:solidFill>
                  <a:srgbClr val="0563C1"/>
                </a:solidFill>
                <a:uFill>
                  <a:solidFill>
                    <a:srgbClr val="0563C1"/>
                  </a:solidFill>
                </a:uFill>
                <a:latin typeface="Calibri"/>
                <a:cs typeface="Calibri"/>
                <a:hlinkClick r:id="rId25"/>
              </a:rPr>
              <a:t>gina_lowell@rush.edu</a:t>
            </a:r>
            <a:endParaRPr sz="1800" dirty="0">
              <a:latin typeface="Calibri"/>
              <a:cs typeface="Calibri"/>
            </a:endParaRPr>
          </a:p>
          <a:p>
            <a:pPr marL="12700">
              <a:lnSpc>
                <a:spcPts val="2090"/>
              </a:lnSpc>
            </a:pPr>
            <a:r>
              <a:rPr sz="1800" b="1" spc="-20" dirty="0" err="1">
                <a:solidFill>
                  <a:srgbClr val="4472C4"/>
                </a:solidFill>
                <a:latin typeface="Calibri"/>
                <a:cs typeface="Calibri"/>
              </a:rPr>
              <a:t>Kyran</a:t>
            </a:r>
            <a:r>
              <a:rPr sz="1800" b="1" spc="-40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4472C4"/>
                </a:solidFill>
                <a:latin typeface="Calibri"/>
                <a:cs typeface="Calibri"/>
              </a:rPr>
              <a:t>Quinlan:</a:t>
            </a:r>
            <a:r>
              <a:rPr sz="1800" b="1" spc="-30" dirty="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lang="en-US" sz="1800" b="1" u="sng" spc="-10" dirty="0" err="1">
                <a:solidFill>
                  <a:srgbClr val="0563C1"/>
                </a:solidFill>
                <a:uFill>
                  <a:solidFill>
                    <a:srgbClr val="0563C1"/>
                  </a:solidFill>
                </a:uFill>
                <a:latin typeface="Calibri"/>
                <a:cs typeface="Calibri"/>
              </a:rPr>
              <a:t>quinlan.kyran@gmail.com</a:t>
            </a:r>
            <a:endParaRPr sz="18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1680"/>
              </a:spcBef>
            </a:pPr>
            <a:endParaRPr sz="1800" dirty="0">
              <a:latin typeface="Calibri"/>
              <a:cs typeface="Calibri"/>
            </a:endParaRPr>
          </a:p>
          <a:p>
            <a:pPr marL="2764155">
              <a:lnSpc>
                <a:spcPct val="100000"/>
              </a:lnSpc>
              <a:spcBef>
                <a:spcPts val="5"/>
              </a:spcBef>
            </a:pPr>
            <a:r>
              <a:rPr sz="2000" b="1" dirty="0">
                <a:solidFill>
                  <a:srgbClr val="1791BB"/>
                </a:solidFill>
                <a:latin typeface="Calibri"/>
                <a:cs typeface="Calibri"/>
              </a:rPr>
              <a:t>THANK</a:t>
            </a:r>
            <a:r>
              <a:rPr sz="2000" b="1" spc="-45" dirty="0">
                <a:solidFill>
                  <a:srgbClr val="1791BB"/>
                </a:solidFill>
                <a:latin typeface="Calibri"/>
                <a:cs typeface="Calibri"/>
              </a:rPr>
              <a:t> </a:t>
            </a:r>
            <a:r>
              <a:rPr sz="2000" b="1" spc="-20" dirty="0">
                <a:solidFill>
                  <a:srgbClr val="1791BB"/>
                </a:solidFill>
                <a:latin typeface="Calibri"/>
                <a:cs typeface="Calibri"/>
              </a:rPr>
              <a:t>YOU!</a:t>
            </a:r>
            <a:endParaRPr sz="2000" dirty="0">
              <a:latin typeface="Calibri"/>
              <a:cs typeface="Calibri"/>
            </a:endParaRPr>
          </a:p>
        </p:txBody>
      </p:sp>
      <p:grpSp>
        <p:nvGrpSpPr>
          <p:cNvPr id="33" name="object 33"/>
          <p:cNvGrpSpPr/>
          <p:nvPr/>
        </p:nvGrpSpPr>
        <p:grpSpPr>
          <a:xfrm>
            <a:off x="266762" y="1253206"/>
            <a:ext cx="5316220" cy="5178425"/>
            <a:chOff x="266762" y="1253206"/>
            <a:chExt cx="5316220" cy="5178425"/>
          </a:xfrm>
        </p:grpSpPr>
        <p:pic>
          <p:nvPicPr>
            <p:cNvPr id="34" name="object 34"/>
            <p:cNvPicPr/>
            <p:nvPr/>
          </p:nvPicPr>
          <p:blipFill>
            <a:blip r:embed="rId26" cstate="print"/>
            <a:stretch>
              <a:fillRect/>
            </a:stretch>
          </p:blipFill>
          <p:spPr>
            <a:xfrm>
              <a:off x="276286" y="1722297"/>
              <a:ext cx="3144273" cy="3446731"/>
            </a:xfrm>
            <a:prstGeom prst="rect">
              <a:avLst/>
            </a:prstGeom>
          </p:spPr>
        </p:pic>
        <p:sp>
          <p:nvSpPr>
            <p:cNvPr id="35" name="object 35"/>
            <p:cNvSpPr/>
            <p:nvPr/>
          </p:nvSpPr>
          <p:spPr>
            <a:xfrm>
              <a:off x="271524" y="1257969"/>
              <a:ext cx="3154045" cy="4078604"/>
            </a:xfrm>
            <a:custGeom>
              <a:avLst/>
              <a:gdLst/>
              <a:ahLst/>
              <a:cxnLst/>
              <a:rect l="l" t="t" r="r" b="b"/>
              <a:pathLst>
                <a:path w="3154045" h="4078604">
                  <a:moveTo>
                    <a:pt x="0" y="0"/>
                  </a:moveTo>
                  <a:lnTo>
                    <a:pt x="3153798" y="0"/>
                  </a:lnTo>
                  <a:lnTo>
                    <a:pt x="3153798" y="4078584"/>
                  </a:lnTo>
                  <a:lnTo>
                    <a:pt x="0" y="4078584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00683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2415311" y="2332443"/>
              <a:ext cx="3167380" cy="4098925"/>
            </a:xfrm>
            <a:custGeom>
              <a:avLst/>
              <a:gdLst/>
              <a:ahLst/>
              <a:cxnLst/>
              <a:rect l="l" t="t" r="r" b="b"/>
              <a:pathLst>
                <a:path w="3167379" h="4098925">
                  <a:moveTo>
                    <a:pt x="3167113" y="1829473"/>
                  </a:moveTo>
                  <a:lnTo>
                    <a:pt x="0" y="1829473"/>
                  </a:lnTo>
                  <a:lnTo>
                    <a:pt x="0" y="4098607"/>
                  </a:lnTo>
                  <a:lnTo>
                    <a:pt x="3167113" y="4098607"/>
                  </a:lnTo>
                  <a:lnTo>
                    <a:pt x="3167113" y="1829473"/>
                  </a:lnTo>
                  <a:close/>
                </a:path>
                <a:path w="3167379" h="4098925">
                  <a:moveTo>
                    <a:pt x="3167113" y="0"/>
                  </a:moveTo>
                  <a:lnTo>
                    <a:pt x="0" y="0"/>
                  </a:lnTo>
                  <a:lnTo>
                    <a:pt x="0" y="1471777"/>
                  </a:lnTo>
                  <a:lnTo>
                    <a:pt x="3167113" y="1471777"/>
                  </a:lnTo>
                  <a:lnTo>
                    <a:pt x="316711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7" name="object 37"/>
            <p:cNvPicPr/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15320" y="4093038"/>
              <a:ext cx="3167105" cy="1659873"/>
            </a:xfrm>
            <a:prstGeom prst="rect">
              <a:avLst/>
            </a:prstGeom>
          </p:spPr>
        </p:pic>
        <p:sp>
          <p:nvSpPr>
            <p:cNvPr id="38" name="object 38"/>
            <p:cNvSpPr/>
            <p:nvPr/>
          </p:nvSpPr>
          <p:spPr>
            <a:xfrm>
              <a:off x="3132188" y="5984963"/>
              <a:ext cx="391795" cy="144145"/>
            </a:xfrm>
            <a:custGeom>
              <a:avLst/>
              <a:gdLst/>
              <a:ahLst/>
              <a:cxnLst/>
              <a:rect l="l" t="t" r="r" b="b"/>
              <a:pathLst>
                <a:path w="391795" h="144145">
                  <a:moveTo>
                    <a:pt x="134937" y="2768"/>
                  </a:moveTo>
                  <a:lnTo>
                    <a:pt x="133311" y="1790"/>
                  </a:lnTo>
                  <a:lnTo>
                    <a:pt x="128739" y="1790"/>
                  </a:lnTo>
                  <a:lnTo>
                    <a:pt x="125183" y="2565"/>
                  </a:lnTo>
                  <a:lnTo>
                    <a:pt x="113626" y="2565"/>
                  </a:lnTo>
                  <a:lnTo>
                    <a:pt x="105867" y="1790"/>
                  </a:lnTo>
                  <a:lnTo>
                    <a:pt x="97497" y="1790"/>
                  </a:lnTo>
                  <a:lnTo>
                    <a:pt x="96100" y="2768"/>
                  </a:lnTo>
                  <a:lnTo>
                    <a:pt x="96100" y="3759"/>
                  </a:lnTo>
                  <a:lnTo>
                    <a:pt x="98996" y="8166"/>
                  </a:lnTo>
                  <a:lnTo>
                    <a:pt x="105359" y="11633"/>
                  </a:lnTo>
                  <a:lnTo>
                    <a:pt x="111721" y="16598"/>
                  </a:lnTo>
                  <a:lnTo>
                    <a:pt x="114617" y="25514"/>
                  </a:lnTo>
                  <a:lnTo>
                    <a:pt x="114617" y="87782"/>
                  </a:lnTo>
                  <a:lnTo>
                    <a:pt x="113626" y="102730"/>
                  </a:lnTo>
                  <a:lnTo>
                    <a:pt x="108648" y="118478"/>
                  </a:lnTo>
                  <a:lnTo>
                    <a:pt x="96672" y="130924"/>
                  </a:lnTo>
                  <a:lnTo>
                    <a:pt x="74701" y="135978"/>
                  </a:lnTo>
                  <a:lnTo>
                    <a:pt x="57861" y="132803"/>
                  </a:lnTo>
                  <a:lnTo>
                    <a:pt x="44272" y="123190"/>
                  </a:lnTo>
                  <a:lnTo>
                    <a:pt x="35191" y="107061"/>
                  </a:lnTo>
                  <a:lnTo>
                    <a:pt x="31877" y="84289"/>
                  </a:lnTo>
                  <a:lnTo>
                    <a:pt x="31877" y="10198"/>
                  </a:lnTo>
                  <a:lnTo>
                    <a:pt x="45199" y="9321"/>
                  </a:lnTo>
                  <a:lnTo>
                    <a:pt x="45199" y="1371"/>
                  </a:lnTo>
                  <a:lnTo>
                    <a:pt x="39839" y="1790"/>
                  </a:lnTo>
                  <a:lnTo>
                    <a:pt x="32664" y="1790"/>
                  </a:lnTo>
                  <a:lnTo>
                    <a:pt x="26289" y="2565"/>
                  </a:lnTo>
                  <a:lnTo>
                    <a:pt x="14541" y="2565"/>
                  </a:lnTo>
                  <a:lnTo>
                    <a:pt x="9563" y="1790"/>
                  </a:lnTo>
                  <a:lnTo>
                    <a:pt x="3390" y="1790"/>
                  </a:lnTo>
                  <a:lnTo>
                    <a:pt x="0" y="2374"/>
                  </a:lnTo>
                  <a:lnTo>
                    <a:pt x="0" y="10134"/>
                  </a:lnTo>
                  <a:lnTo>
                    <a:pt x="16129" y="11036"/>
                  </a:lnTo>
                  <a:lnTo>
                    <a:pt x="16129" y="84201"/>
                  </a:lnTo>
                  <a:lnTo>
                    <a:pt x="17741" y="106502"/>
                  </a:lnTo>
                  <a:lnTo>
                    <a:pt x="25196" y="125666"/>
                  </a:lnTo>
                  <a:lnTo>
                    <a:pt x="42481" y="139090"/>
                  </a:lnTo>
                  <a:lnTo>
                    <a:pt x="73558" y="144145"/>
                  </a:lnTo>
                  <a:lnTo>
                    <a:pt x="104660" y="134924"/>
                  </a:lnTo>
                  <a:lnTo>
                    <a:pt x="119126" y="114668"/>
                  </a:lnTo>
                  <a:lnTo>
                    <a:pt x="123202" y="94399"/>
                  </a:lnTo>
                  <a:lnTo>
                    <a:pt x="123177" y="11595"/>
                  </a:lnTo>
                  <a:lnTo>
                    <a:pt x="134937" y="9550"/>
                  </a:lnTo>
                  <a:lnTo>
                    <a:pt x="134937" y="2768"/>
                  </a:lnTo>
                  <a:close/>
                </a:path>
                <a:path w="391795" h="144145">
                  <a:moveTo>
                    <a:pt x="238772" y="103771"/>
                  </a:moveTo>
                  <a:lnTo>
                    <a:pt x="231101" y="79209"/>
                  </a:lnTo>
                  <a:lnTo>
                    <a:pt x="212636" y="65925"/>
                  </a:lnTo>
                  <a:lnTo>
                    <a:pt x="190233" y="58280"/>
                  </a:lnTo>
                  <a:lnTo>
                    <a:pt x="170738" y="50596"/>
                  </a:lnTo>
                  <a:lnTo>
                    <a:pt x="167868" y="48869"/>
                  </a:lnTo>
                  <a:lnTo>
                    <a:pt x="160286" y="39801"/>
                  </a:lnTo>
                  <a:lnTo>
                    <a:pt x="160020" y="37172"/>
                  </a:lnTo>
                  <a:lnTo>
                    <a:pt x="158775" y="30048"/>
                  </a:lnTo>
                  <a:lnTo>
                    <a:pt x="188468" y="7708"/>
                  </a:lnTo>
                  <a:lnTo>
                    <a:pt x="198945" y="9144"/>
                  </a:lnTo>
                  <a:lnTo>
                    <a:pt x="229412" y="33451"/>
                  </a:lnTo>
                  <a:lnTo>
                    <a:pt x="230416" y="37807"/>
                  </a:lnTo>
                  <a:lnTo>
                    <a:pt x="234594" y="37807"/>
                  </a:lnTo>
                  <a:lnTo>
                    <a:pt x="234988" y="36423"/>
                  </a:lnTo>
                  <a:lnTo>
                    <a:pt x="231622" y="5549"/>
                  </a:lnTo>
                  <a:lnTo>
                    <a:pt x="230606" y="4965"/>
                  </a:lnTo>
                  <a:lnTo>
                    <a:pt x="227431" y="4965"/>
                  </a:lnTo>
                  <a:lnTo>
                    <a:pt x="227037" y="7162"/>
                  </a:lnTo>
                  <a:lnTo>
                    <a:pt x="225247" y="7162"/>
                  </a:lnTo>
                  <a:lnTo>
                    <a:pt x="216509" y="3581"/>
                  </a:lnTo>
                  <a:lnTo>
                    <a:pt x="206794" y="1117"/>
                  </a:lnTo>
                  <a:lnTo>
                    <a:pt x="191795" y="0"/>
                  </a:lnTo>
                  <a:lnTo>
                    <a:pt x="175221" y="2057"/>
                  </a:lnTo>
                  <a:lnTo>
                    <a:pt x="161099" y="8496"/>
                  </a:lnTo>
                  <a:lnTo>
                    <a:pt x="151257" y="19685"/>
                  </a:lnTo>
                  <a:lnTo>
                    <a:pt x="147574" y="35979"/>
                  </a:lnTo>
                  <a:lnTo>
                    <a:pt x="155194" y="59575"/>
                  </a:lnTo>
                  <a:lnTo>
                    <a:pt x="173469" y="72326"/>
                  </a:lnTo>
                  <a:lnTo>
                    <a:pt x="195592" y="79895"/>
                  </a:lnTo>
                  <a:lnTo>
                    <a:pt x="214731" y="87947"/>
                  </a:lnTo>
                  <a:lnTo>
                    <a:pt x="220624" y="91846"/>
                  </a:lnTo>
                  <a:lnTo>
                    <a:pt x="225933" y="100736"/>
                  </a:lnTo>
                  <a:lnTo>
                    <a:pt x="226390" y="114109"/>
                  </a:lnTo>
                  <a:lnTo>
                    <a:pt x="223393" y="121094"/>
                  </a:lnTo>
                  <a:lnTo>
                    <a:pt x="193078" y="136296"/>
                  </a:lnTo>
                  <a:lnTo>
                    <a:pt x="177126" y="133477"/>
                  </a:lnTo>
                  <a:lnTo>
                    <a:pt x="163677" y="125984"/>
                  </a:lnTo>
                  <a:lnTo>
                    <a:pt x="153784" y="116065"/>
                  </a:lnTo>
                  <a:lnTo>
                    <a:pt x="148475" y="105956"/>
                  </a:lnTo>
                  <a:lnTo>
                    <a:pt x="147789" y="103466"/>
                  </a:lnTo>
                  <a:lnTo>
                    <a:pt x="147294" y="102857"/>
                  </a:lnTo>
                  <a:lnTo>
                    <a:pt x="143408" y="102857"/>
                  </a:lnTo>
                  <a:lnTo>
                    <a:pt x="142392" y="103517"/>
                  </a:lnTo>
                  <a:lnTo>
                    <a:pt x="143205" y="107505"/>
                  </a:lnTo>
                  <a:lnTo>
                    <a:pt x="148196" y="133184"/>
                  </a:lnTo>
                  <a:lnTo>
                    <a:pt x="151714" y="136410"/>
                  </a:lnTo>
                  <a:lnTo>
                    <a:pt x="159778" y="140004"/>
                  </a:lnTo>
                  <a:lnTo>
                    <a:pt x="170472" y="142925"/>
                  </a:lnTo>
                  <a:lnTo>
                    <a:pt x="181838" y="144145"/>
                  </a:lnTo>
                  <a:lnTo>
                    <a:pt x="209804" y="140182"/>
                  </a:lnTo>
                  <a:lnTo>
                    <a:pt x="227253" y="130225"/>
                  </a:lnTo>
                  <a:lnTo>
                    <a:pt x="236232" y="117132"/>
                  </a:lnTo>
                  <a:lnTo>
                    <a:pt x="238772" y="103771"/>
                  </a:lnTo>
                  <a:close/>
                </a:path>
                <a:path w="391795" h="144145">
                  <a:moveTo>
                    <a:pt x="391782" y="140347"/>
                  </a:moveTo>
                  <a:lnTo>
                    <a:pt x="388950" y="137198"/>
                  </a:lnTo>
                  <a:lnTo>
                    <a:pt x="382727" y="134023"/>
                  </a:lnTo>
                  <a:lnTo>
                    <a:pt x="376504" y="129057"/>
                  </a:lnTo>
                  <a:lnTo>
                    <a:pt x="373684" y="120510"/>
                  </a:lnTo>
                  <a:lnTo>
                    <a:pt x="373684" y="9321"/>
                  </a:lnTo>
                  <a:lnTo>
                    <a:pt x="387019" y="8559"/>
                  </a:lnTo>
                  <a:lnTo>
                    <a:pt x="387019" y="3759"/>
                  </a:lnTo>
                  <a:lnTo>
                    <a:pt x="386638" y="1790"/>
                  </a:lnTo>
                  <a:lnTo>
                    <a:pt x="377456" y="1790"/>
                  </a:lnTo>
                  <a:lnTo>
                    <a:pt x="375221" y="2565"/>
                  </a:lnTo>
                  <a:lnTo>
                    <a:pt x="364058" y="2565"/>
                  </a:lnTo>
                  <a:lnTo>
                    <a:pt x="355142" y="1790"/>
                  </a:lnTo>
                  <a:lnTo>
                    <a:pt x="345579" y="1790"/>
                  </a:lnTo>
                  <a:lnTo>
                    <a:pt x="345173" y="2768"/>
                  </a:lnTo>
                  <a:lnTo>
                    <a:pt x="345173" y="8559"/>
                  </a:lnTo>
                  <a:lnTo>
                    <a:pt x="360121" y="9321"/>
                  </a:lnTo>
                  <a:lnTo>
                    <a:pt x="360121" y="60883"/>
                  </a:lnTo>
                  <a:lnTo>
                    <a:pt x="359791" y="65493"/>
                  </a:lnTo>
                  <a:lnTo>
                    <a:pt x="283070" y="65493"/>
                  </a:lnTo>
                  <a:lnTo>
                    <a:pt x="282676" y="60236"/>
                  </a:lnTo>
                  <a:lnTo>
                    <a:pt x="282676" y="8140"/>
                  </a:lnTo>
                  <a:lnTo>
                    <a:pt x="297002" y="7759"/>
                  </a:lnTo>
                  <a:lnTo>
                    <a:pt x="297002" y="2971"/>
                  </a:lnTo>
                  <a:lnTo>
                    <a:pt x="296608" y="1790"/>
                  </a:lnTo>
                  <a:lnTo>
                    <a:pt x="287045" y="1790"/>
                  </a:lnTo>
                  <a:lnTo>
                    <a:pt x="282321" y="2565"/>
                  </a:lnTo>
                  <a:lnTo>
                    <a:pt x="268795" y="2565"/>
                  </a:lnTo>
                  <a:lnTo>
                    <a:pt x="261632" y="1790"/>
                  </a:lnTo>
                  <a:lnTo>
                    <a:pt x="252666" y="1790"/>
                  </a:lnTo>
                  <a:lnTo>
                    <a:pt x="251053" y="2159"/>
                  </a:lnTo>
                  <a:lnTo>
                    <a:pt x="251053" y="3975"/>
                  </a:lnTo>
                  <a:lnTo>
                    <a:pt x="253733" y="6756"/>
                  </a:lnTo>
                  <a:lnTo>
                    <a:pt x="259638" y="9715"/>
                  </a:lnTo>
                  <a:lnTo>
                    <a:pt x="265582" y="14579"/>
                  </a:lnTo>
                  <a:lnTo>
                    <a:pt x="268389" y="23088"/>
                  </a:lnTo>
                  <a:lnTo>
                    <a:pt x="268389" y="116941"/>
                  </a:lnTo>
                  <a:lnTo>
                    <a:pt x="265950" y="128016"/>
                  </a:lnTo>
                  <a:lnTo>
                    <a:pt x="260604" y="133578"/>
                  </a:lnTo>
                  <a:lnTo>
                    <a:pt x="255270" y="136537"/>
                  </a:lnTo>
                  <a:lnTo>
                    <a:pt x="252831" y="139763"/>
                  </a:lnTo>
                  <a:lnTo>
                    <a:pt x="252831" y="141744"/>
                  </a:lnTo>
                  <a:lnTo>
                    <a:pt x="253453" y="142748"/>
                  </a:lnTo>
                  <a:lnTo>
                    <a:pt x="255828" y="142748"/>
                  </a:lnTo>
                  <a:lnTo>
                    <a:pt x="258025" y="141960"/>
                  </a:lnTo>
                  <a:lnTo>
                    <a:pt x="272161" y="141960"/>
                  </a:lnTo>
                  <a:lnTo>
                    <a:pt x="300177" y="142748"/>
                  </a:lnTo>
                  <a:lnTo>
                    <a:pt x="301574" y="142151"/>
                  </a:lnTo>
                  <a:lnTo>
                    <a:pt x="301574" y="141160"/>
                  </a:lnTo>
                  <a:lnTo>
                    <a:pt x="298615" y="137452"/>
                  </a:lnTo>
                  <a:lnTo>
                    <a:pt x="292125" y="134302"/>
                  </a:lnTo>
                  <a:lnTo>
                    <a:pt x="285635" y="129781"/>
                  </a:lnTo>
                  <a:lnTo>
                    <a:pt x="282676" y="121932"/>
                  </a:lnTo>
                  <a:lnTo>
                    <a:pt x="282676" y="77101"/>
                  </a:lnTo>
                  <a:lnTo>
                    <a:pt x="283502" y="72859"/>
                  </a:lnTo>
                  <a:lnTo>
                    <a:pt x="360222" y="72859"/>
                  </a:lnTo>
                  <a:lnTo>
                    <a:pt x="360121" y="134277"/>
                  </a:lnTo>
                  <a:lnTo>
                    <a:pt x="346151" y="135369"/>
                  </a:lnTo>
                  <a:lnTo>
                    <a:pt x="346151" y="143344"/>
                  </a:lnTo>
                  <a:lnTo>
                    <a:pt x="349161" y="142748"/>
                  </a:lnTo>
                  <a:lnTo>
                    <a:pt x="354736" y="142748"/>
                  </a:lnTo>
                  <a:lnTo>
                    <a:pt x="358140" y="141960"/>
                  </a:lnTo>
                  <a:lnTo>
                    <a:pt x="378066" y="141960"/>
                  </a:lnTo>
                  <a:lnTo>
                    <a:pt x="384238" y="142748"/>
                  </a:lnTo>
                  <a:lnTo>
                    <a:pt x="390994" y="142748"/>
                  </a:lnTo>
                  <a:lnTo>
                    <a:pt x="391782" y="140957"/>
                  </a:lnTo>
                  <a:lnTo>
                    <a:pt x="391782" y="140347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9" name="object 39"/>
            <p:cNvPicPr/>
            <p:nvPr/>
          </p:nvPicPr>
          <p:blipFill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39643" y="5980920"/>
              <a:ext cx="141754" cy="153471"/>
            </a:xfrm>
            <a:prstGeom prst="rect">
              <a:avLst/>
            </a:prstGeom>
          </p:spPr>
        </p:pic>
        <p:sp>
          <p:nvSpPr>
            <p:cNvPr id="40" name="object 40"/>
            <p:cNvSpPr/>
            <p:nvPr/>
          </p:nvSpPr>
          <p:spPr>
            <a:xfrm>
              <a:off x="3016178" y="5987136"/>
              <a:ext cx="129539" cy="140970"/>
            </a:xfrm>
            <a:custGeom>
              <a:avLst/>
              <a:gdLst/>
              <a:ahLst/>
              <a:cxnLst/>
              <a:rect l="l" t="t" r="r" b="b"/>
              <a:pathLst>
                <a:path w="129539" h="140970">
                  <a:moveTo>
                    <a:pt x="53406" y="139752"/>
                  </a:moveTo>
                  <a:lnTo>
                    <a:pt x="43698" y="139752"/>
                  </a:lnTo>
                  <a:lnTo>
                    <a:pt x="48252" y="140565"/>
                  </a:lnTo>
                  <a:lnTo>
                    <a:pt x="51625" y="140565"/>
                  </a:lnTo>
                  <a:lnTo>
                    <a:pt x="53406" y="140974"/>
                  </a:lnTo>
                  <a:lnTo>
                    <a:pt x="53406" y="139752"/>
                  </a:lnTo>
                  <a:close/>
                </a:path>
                <a:path w="129539" h="140970">
                  <a:moveTo>
                    <a:pt x="7565" y="22"/>
                  </a:moveTo>
                  <a:lnTo>
                    <a:pt x="1609" y="22"/>
                  </a:lnTo>
                  <a:lnTo>
                    <a:pt x="0" y="1202"/>
                  </a:lnTo>
                  <a:lnTo>
                    <a:pt x="0" y="2397"/>
                  </a:lnTo>
                  <a:lnTo>
                    <a:pt x="2667" y="5326"/>
                  </a:lnTo>
                  <a:lnTo>
                    <a:pt x="8536" y="6619"/>
                  </a:lnTo>
                  <a:lnTo>
                    <a:pt x="14405" y="10221"/>
                  </a:lnTo>
                  <a:lnTo>
                    <a:pt x="17072" y="20075"/>
                  </a:lnTo>
                  <a:lnTo>
                    <a:pt x="17025" y="118245"/>
                  </a:lnTo>
                  <a:lnTo>
                    <a:pt x="14811" y="127727"/>
                  </a:lnTo>
                  <a:lnTo>
                    <a:pt x="9838" y="132750"/>
                  </a:lnTo>
                  <a:lnTo>
                    <a:pt x="4864" y="135503"/>
                  </a:lnTo>
                  <a:lnTo>
                    <a:pt x="2603" y="138376"/>
                  </a:lnTo>
                  <a:lnTo>
                    <a:pt x="2603" y="139566"/>
                  </a:lnTo>
                  <a:lnTo>
                    <a:pt x="3384" y="140565"/>
                  </a:lnTo>
                  <a:lnTo>
                    <a:pt x="12104" y="140565"/>
                  </a:lnTo>
                  <a:lnTo>
                    <a:pt x="19674" y="139752"/>
                  </a:lnTo>
                  <a:lnTo>
                    <a:pt x="53406" y="139752"/>
                  </a:lnTo>
                  <a:lnTo>
                    <a:pt x="53406" y="138981"/>
                  </a:lnTo>
                  <a:lnTo>
                    <a:pt x="50182" y="135655"/>
                  </a:lnTo>
                  <a:lnTo>
                    <a:pt x="43089" y="133451"/>
                  </a:lnTo>
                  <a:lnTo>
                    <a:pt x="35997" y="128829"/>
                  </a:lnTo>
                  <a:lnTo>
                    <a:pt x="32773" y="118245"/>
                  </a:lnTo>
                  <a:lnTo>
                    <a:pt x="32773" y="77435"/>
                  </a:lnTo>
                  <a:lnTo>
                    <a:pt x="31572" y="73854"/>
                  </a:lnTo>
                  <a:lnTo>
                    <a:pt x="75273" y="73854"/>
                  </a:lnTo>
                  <a:lnTo>
                    <a:pt x="71875" y="68705"/>
                  </a:lnTo>
                  <a:lnTo>
                    <a:pt x="72935" y="68104"/>
                  </a:lnTo>
                  <a:lnTo>
                    <a:pt x="32773" y="68104"/>
                  </a:lnTo>
                  <a:lnTo>
                    <a:pt x="32773" y="6165"/>
                  </a:lnTo>
                  <a:lnTo>
                    <a:pt x="79699" y="6165"/>
                  </a:lnTo>
                  <a:lnTo>
                    <a:pt x="74551" y="2824"/>
                  </a:lnTo>
                  <a:lnTo>
                    <a:pt x="63177" y="819"/>
                  </a:lnTo>
                  <a:lnTo>
                    <a:pt x="6551" y="819"/>
                  </a:lnTo>
                  <a:lnTo>
                    <a:pt x="7565" y="22"/>
                  </a:lnTo>
                  <a:close/>
                </a:path>
                <a:path w="129539" h="140970">
                  <a:moveTo>
                    <a:pt x="75273" y="73854"/>
                  </a:moveTo>
                  <a:lnTo>
                    <a:pt x="37927" y="73854"/>
                  </a:lnTo>
                  <a:lnTo>
                    <a:pt x="50420" y="73936"/>
                  </a:lnTo>
                  <a:lnTo>
                    <a:pt x="56775" y="74950"/>
                  </a:lnTo>
                  <a:lnTo>
                    <a:pt x="60308" y="78048"/>
                  </a:lnTo>
                  <a:lnTo>
                    <a:pt x="90542" y="125526"/>
                  </a:lnTo>
                  <a:lnTo>
                    <a:pt x="95685" y="132651"/>
                  </a:lnTo>
                  <a:lnTo>
                    <a:pt x="100735" y="137290"/>
                  </a:lnTo>
                  <a:lnTo>
                    <a:pt x="107087" y="139806"/>
                  </a:lnTo>
                  <a:lnTo>
                    <a:pt x="116137" y="140565"/>
                  </a:lnTo>
                  <a:lnTo>
                    <a:pt x="129038" y="140565"/>
                  </a:lnTo>
                  <a:lnTo>
                    <a:pt x="129038" y="138174"/>
                  </a:lnTo>
                  <a:lnTo>
                    <a:pt x="127600" y="136254"/>
                  </a:lnTo>
                  <a:lnTo>
                    <a:pt x="123202" y="135029"/>
                  </a:lnTo>
                  <a:lnTo>
                    <a:pt x="115716" y="130565"/>
                  </a:lnTo>
                  <a:lnTo>
                    <a:pt x="105016" y="118928"/>
                  </a:lnTo>
                  <a:lnTo>
                    <a:pt x="75273" y="73854"/>
                  </a:lnTo>
                  <a:close/>
                </a:path>
                <a:path w="129539" h="140970">
                  <a:moveTo>
                    <a:pt x="79699" y="6165"/>
                  </a:moveTo>
                  <a:lnTo>
                    <a:pt x="32773" y="6165"/>
                  </a:lnTo>
                  <a:lnTo>
                    <a:pt x="36929" y="6568"/>
                  </a:lnTo>
                  <a:lnTo>
                    <a:pt x="44090" y="6568"/>
                  </a:lnTo>
                  <a:lnTo>
                    <a:pt x="58216" y="8218"/>
                  </a:lnTo>
                  <a:lnTo>
                    <a:pt x="70337" y="13664"/>
                  </a:lnTo>
                  <a:lnTo>
                    <a:pt x="78812" y="23652"/>
                  </a:lnTo>
                  <a:lnTo>
                    <a:pt x="82002" y="38927"/>
                  </a:lnTo>
                  <a:lnTo>
                    <a:pt x="78891" y="53712"/>
                  </a:lnTo>
                  <a:lnTo>
                    <a:pt x="71404" y="62250"/>
                  </a:lnTo>
                  <a:lnTo>
                    <a:pt x="62314" y="66175"/>
                  </a:lnTo>
                  <a:lnTo>
                    <a:pt x="54394" y="67121"/>
                  </a:lnTo>
                  <a:lnTo>
                    <a:pt x="45074" y="67121"/>
                  </a:lnTo>
                  <a:lnTo>
                    <a:pt x="32773" y="68104"/>
                  </a:lnTo>
                  <a:lnTo>
                    <a:pt x="72935" y="68104"/>
                  </a:lnTo>
                  <a:lnTo>
                    <a:pt x="81644" y="63171"/>
                  </a:lnTo>
                  <a:lnTo>
                    <a:pt x="89589" y="55254"/>
                  </a:lnTo>
                  <a:lnTo>
                    <a:pt x="94928" y="45477"/>
                  </a:lnTo>
                  <a:lnTo>
                    <a:pt x="96881" y="34363"/>
                  </a:lnTo>
                  <a:lnTo>
                    <a:pt x="89977" y="12833"/>
                  </a:lnTo>
                  <a:lnTo>
                    <a:pt x="79699" y="6165"/>
                  </a:lnTo>
                  <a:close/>
                </a:path>
                <a:path w="129539" h="140970">
                  <a:moveTo>
                    <a:pt x="58531" y="0"/>
                  </a:moveTo>
                  <a:lnTo>
                    <a:pt x="49846" y="22"/>
                  </a:lnTo>
                  <a:lnTo>
                    <a:pt x="41928" y="146"/>
                  </a:lnTo>
                  <a:lnTo>
                    <a:pt x="25275" y="694"/>
                  </a:lnTo>
                  <a:lnTo>
                    <a:pt x="16694" y="819"/>
                  </a:lnTo>
                  <a:lnTo>
                    <a:pt x="63177" y="819"/>
                  </a:lnTo>
                  <a:lnTo>
                    <a:pt x="58531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2415320" y="3804210"/>
              <a:ext cx="3167380" cy="358140"/>
            </a:xfrm>
            <a:custGeom>
              <a:avLst/>
              <a:gdLst/>
              <a:ahLst/>
              <a:cxnLst/>
              <a:rect l="l" t="t" r="r" b="b"/>
              <a:pathLst>
                <a:path w="3167379" h="358139">
                  <a:moveTo>
                    <a:pt x="3167105" y="0"/>
                  </a:moveTo>
                  <a:lnTo>
                    <a:pt x="0" y="0"/>
                  </a:lnTo>
                  <a:lnTo>
                    <a:pt x="0" y="357696"/>
                  </a:lnTo>
                  <a:lnTo>
                    <a:pt x="3167105" y="357696"/>
                  </a:lnTo>
                  <a:lnTo>
                    <a:pt x="3167105" y="0"/>
                  </a:lnTo>
                  <a:close/>
                </a:path>
              </a:pathLst>
            </a:custGeom>
            <a:solidFill>
              <a:srgbClr val="00B4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2" name="object 42"/>
          <p:cNvSpPr txBox="1"/>
          <p:nvPr/>
        </p:nvSpPr>
        <p:spPr>
          <a:xfrm>
            <a:off x="2868074" y="1838558"/>
            <a:ext cx="8888730" cy="18529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326129" algn="ctr">
              <a:lnSpc>
                <a:spcPct val="100000"/>
              </a:lnSpc>
              <a:spcBef>
                <a:spcPts val="100"/>
              </a:spcBef>
            </a:pPr>
            <a:r>
              <a:rPr sz="3600" spc="-35" dirty="0">
                <a:solidFill>
                  <a:srgbClr val="FFFFFF"/>
                </a:solidFill>
                <a:latin typeface="Calibri"/>
                <a:cs typeface="Calibri"/>
              </a:rPr>
              <a:t>CPASS</a:t>
            </a:r>
            <a:r>
              <a:rPr sz="3600" spc="-1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600" dirty="0">
                <a:solidFill>
                  <a:srgbClr val="FFFFFF"/>
                </a:solidFill>
                <a:latin typeface="Calibri"/>
                <a:cs typeface="Calibri"/>
              </a:rPr>
              <a:t>CHICAGO</a:t>
            </a:r>
            <a:r>
              <a:rPr sz="3600" spc="-10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600" dirty="0">
                <a:solidFill>
                  <a:srgbClr val="FFFFFF"/>
                </a:solidFill>
                <a:latin typeface="Calibri"/>
                <a:cs typeface="Calibri"/>
              </a:rPr>
              <a:t>SLEEPS</a:t>
            </a:r>
            <a:r>
              <a:rPr sz="3600" spc="-1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600" spc="-10" dirty="0">
                <a:solidFill>
                  <a:srgbClr val="FFFFFF"/>
                </a:solidFill>
                <a:latin typeface="Calibri"/>
                <a:cs typeface="Calibri"/>
              </a:rPr>
              <a:t>SAFE!</a:t>
            </a:r>
            <a:endParaRPr sz="3600" dirty="0">
              <a:latin typeface="Calibri"/>
              <a:cs typeface="Calibri"/>
            </a:endParaRPr>
          </a:p>
          <a:p>
            <a:pPr marL="3327400" algn="ctr">
              <a:lnSpc>
                <a:spcPct val="100000"/>
              </a:lnSpc>
              <a:spcBef>
                <a:spcPts val="1490"/>
              </a:spcBef>
            </a:pPr>
            <a:r>
              <a:rPr sz="1100" b="1" spc="-40" dirty="0">
                <a:solidFill>
                  <a:srgbClr val="FFFFFF"/>
                </a:solidFill>
                <a:latin typeface="Arial"/>
                <a:cs typeface="Arial"/>
              </a:rPr>
              <a:t>COMMUNITY</a:t>
            </a:r>
            <a:r>
              <a:rPr sz="11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40" dirty="0">
                <a:solidFill>
                  <a:srgbClr val="FFFFFF"/>
                </a:solidFill>
                <a:latin typeface="Arial"/>
                <a:cs typeface="Arial"/>
              </a:rPr>
              <a:t>PARTNERSHIP</a:t>
            </a:r>
            <a:r>
              <a:rPr sz="11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45" dirty="0">
                <a:solidFill>
                  <a:srgbClr val="FFFFFF"/>
                </a:solidFill>
                <a:latin typeface="Arial"/>
                <a:cs typeface="Arial"/>
              </a:rPr>
              <a:t>APPROACHES</a:t>
            </a:r>
            <a:r>
              <a:rPr sz="11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40" dirty="0">
                <a:solidFill>
                  <a:srgbClr val="FFFFFF"/>
                </a:solidFill>
                <a:latin typeface="Arial"/>
                <a:cs typeface="Arial"/>
              </a:rPr>
              <a:t>FOR</a:t>
            </a:r>
            <a:r>
              <a:rPr sz="11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35" dirty="0">
                <a:solidFill>
                  <a:srgbClr val="FFFFFF"/>
                </a:solidFill>
                <a:latin typeface="Arial"/>
                <a:cs typeface="Arial"/>
              </a:rPr>
              <a:t>SAFE</a:t>
            </a:r>
            <a:r>
              <a:rPr sz="11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100" b="1" spc="-10" dirty="0">
                <a:solidFill>
                  <a:srgbClr val="FFFFFF"/>
                </a:solidFill>
                <a:latin typeface="Arial"/>
                <a:cs typeface="Arial"/>
              </a:rPr>
              <a:t>SLEEP</a:t>
            </a:r>
            <a:endParaRPr sz="1100" dirty="0">
              <a:latin typeface="Arial"/>
              <a:cs typeface="Arial"/>
            </a:endParaRPr>
          </a:p>
          <a:p>
            <a:pPr marL="15240" marR="6586220" algn="ctr">
              <a:lnSpc>
                <a:spcPct val="79500"/>
              </a:lnSpc>
              <a:spcBef>
                <a:spcPts val="855"/>
              </a:spcBef>
            </a:pPr>
            <a:r>
              <a:rPr lang="en-US" sz="2150" b="1" dirty="0">
                <a:solidFill>
                  <a:srgbClr val="006332"/>
                </a:solidFill>
                <a:latin typeface="Calibri"/>
                <a:cs typeface="Calibri"/>
              </a:rPr>
              <a:t>Sudden</a:t>
            </a:r>
            <a:r>
              <a:rPr lang="en-US" sz="2150" b="1" spc="-55" dirty="0">
                <a:solidFill>
                  <a:srgbClr val="006332"/>
                </a:solidFill>
                <a:latin typeface="Calibri"/>
                <a:cs typeface="Calibri"/>
              </a:rPr>
              <a:t> </a:t>
            </a:r>
            <a:r>
              <a:rPr lang="en-US" sz="2150" b="1" spc="-10" dirty="0">
                <a:solidFill>
                  <a:srgbClr val="006332"/>
                </a:solidFill>
                <a:latin typeface="Calibri"/>
                <a:cs typeface="Calibri"/>
              </a:rPr>
              <a:t>Unexpected </a:t>
            </a:r>
            <a:r>
              <a:rPr lang="en-US" sz="2150" b="1" dirty="0">
                <a:solidFill>
                  <a:srgbClr val="006332"/>
                </a:solidFill>
                <a:latin typeface="Calibri"/>
                <a:cs typeface="Calibri"/>
              </a:rPr>
              <a:t>Infant</a:t>
            </a:r>
            <a:r>
              <a:rPr lang="en-US" sz="2150" b="1" spc="-114" dirty="0">
                <a:solidFill>
                  <a:srgbClr val="006332"/>
                </a:solidFill>
                <a:latin typeface="Calibri"/>
                <a:cs typeface="Calibri"/>
              </a:rPr>
              <a:t> </a:t>
            </a:r>
            <a:r>
              <a:rPr lang="en-US" sz="2150" b="1" spc="-10" dirty="0">
                <a:solidFill>
                  <a:srgbClr val="006332"/>
                </a:solidFill>
                <a:latin typeface="Calibri"/>
                <a:cs typeface="Calibri"/>
              </a:rPr>
              <a:t>Death</a:t>
            </a:r>
            <a:endParaRPr lang="en-US" sz="2150" dirty="0">
              <a:latin typeface="Calibri"/>
              <a:cs typeface="Calibri"/>
            </a:endParaRPr>
          </a:p>
          <a:p>
            <a:pPr marR="6570345" algn="ctr">
              <a:lnSpc>
                <a:spcPct val="100000"/>
              </a:lnSpc>
              <a:spcBef>
                <a:spcPts val="615"/>
              </a:spcBef>
            </a:pPr>
            <a:r>
              <a:rPr sz="1400" b="1" dirty="0">
                <a:solidFill>
                  <a:srgbClr val="00B480"/>
                </a:solidFill>
                <a:latin typeface="Calibri"/>
                <a:cs typeface="Calibri"/>
              </a:rPr>
              <a:t>Cook</a:t>
            </a:r>
            <a:r>
              <a:rPr sz="1400" b="1" spc="-5" dirty="0">
                <a:solidFill>
                  <a:srgbClr val="00B480"/>
                </a:solidFill>
                <a:latin typeface="Calibri"/>
                <a:cs typeface="Calibri"/>
              </a:rPr>
              <a:t> </a:t>
            </a:r>
            <a:r>
              <a:rPr sz="1400" b="1" dirty="0">
                <a:solidFill>
                  <a:srgbClr val="00B480"/>
                </a:solidFill>
                <a:latin typeface="Calibri"/>
                <a:cs typeface="Calibri"/>
              </a:rPr>
              <a:t>County</a:t>
            </a:r>
            <a:r>
              <a:rPr sz="1400" b="1" spc="-5" dirty="0">
                <a:solidFill>
                  <a:srgbClr val="00B480"/>
                </a:solidFill>
                <a:latin typeface="Calibri"/>
                <a:cs typeface="Calibri"/>
              </a:rPr>
              <a:t> </a:t>
            </a:r>
            <a:r>
              <a:rPr sz="1400" b="1" spc="-10" dirty="0">
                <a:solidFill>
                  <a:srgbClr val="00B480"/>
                </a:solidFill>
                <a:latin typeface="Calibri"/>
                <a:cs typeface="Calibri"/>
              </a:rPr>
              <a:t>Report</a:t>
            </a:r>
            <a:r>
              <a:rPr sz="1400" b="1" dirty="0">
                <a:solidFill>
                  <a:srgbClr val="00B480"/>
                </a:solidFill>
                <a:latin typeface="Calibri"/>
                <a:cs typeface="Calibri"/>
              </a:rPr>
              <a:t> 2020-</a:t>
            </a:r>
            <a:r>
              <a:rPr sz="1400" b="1" spc="-20" dirty="0">
                <a:solidFill>
                  <a:srgbClr val="00B480"/>
                </a:solidFill>
                <a:latin typeface="Calibri"/>
                <a:cs typeface="Calibri"/>
              </a:rPr>
              <a:t>2021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2868029" y="3451015"/>
            <a:ext cx="2261870" cy="0"/>
          </a:xfrm>
          <a:custGeom>
            <a:avLst/>
            <a:gdLst/>
            <a:ahLst/>
            <a:cxnLst/>
            <a:rect l="l" t="t" r="r" b="b"/>
            <a:pathLst>
              <a:path w="2261870">
                <a:moveTo>
                  <a:pt x="0" y="0"/>
                </a:moveTo>
                <a:lnTo>
                  <a:pt x="2261686" y="0"/>
                </a:lnTo>
              </a:path>
            </a:pathLst>
          </a:custGeom>
          <a:ln w="5899">
            <a:solidFill>
              <a:srgbClr val="00633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 txBox="1"/>
          <p:nvPr/>
        </p:nvSpPr>
        <p:spPr>
          <a:xfrm>
            <a:off x="3430085" y="3804210"/>
            <a:ext cx="2152650" cy="358140"/>
          </a:xfrm>
          <a:prstGeom prst="rect">
            <a:avLst/>
          </a:prstGeom>
          <a:solidFill>
            <a:srgbClr val="00B480"/>
          </a:solidFill>
        </p:spPr>
        <p:txBody>
          <a:bodyPr vert="horz" wrap="square" lIns="0" tIns="64769" rIns="0" bIns="0" rtlCol="0">
            <a:spAutoFit/>
          </a:bodyPr>
          <a:lstStyle/>
          <a:p>
            <a:pPr marL="101600">
              <a:lnSpc>
                <a:spcPct val="100000"/>
              </a:lnSpc>
              <a:spcBef>
                <a:spcPts val="509"/>
              </a:spcBef>
            </a:pPr>
            <a:r>
              <a:rPr sz="1600" b="1" spc="65">
                <a:solidFill>
                  <a:srgbClr val="FFFFFF"/>
                </a:solidFill>
                <a:latin typeface="Calibri"/>
                <a:cs typeface="Calibri"/>
              </a:rPr>
              <a:t>2020-</a:t>
            </a:r>
            <a:r>
              <a:rPr sz="1600" b="1" spc="-20">
                <a:solidFill>
                  <a:srgbClr val="FFFFFF"/>
                </a:solidFill>
                <a:latin typeface="Calibri"/>
                <a:cs typeface="Calibri"/>
              </a:rPr>
              <a:t>2021</a:t>
            </a:r>
            <a:endParaRPr sz="1600">
              <a:latin typeface="Calibri"/>
              <a:cs typeface="Calibri"/>
            </a:endParaRPr>
          </a:p>
        </p:txBody>
      </p:sp>
      <p:grpSp>
        <p:nvGrpSpPr>
          <p:cNvPr id="45" name="object 45"/>
          <p:cNvGrpSpPr/>
          <p:nvPr/>
        </p:nvGrpSpPr>
        <p:grpSpPr>
          <a:xfrm>
            <a:off x="299207" y="2327675"/>
            <a:ext cx="5288255" cy="4438934"/>
            <a:chOff x="299207" y="2327675"/>
            <a:chExt cx="5288255" cy="4438934"/>
          </a:xfrm>
        </p:grpSpPr>
        <p:pic>
          <p:nvPicPr>
            <p:cNvPr id="46" name="object 46"/>
            <p:cNvPicPr/>
            <p:nvPr/>
          </p:nvPicPr>
          <p:blipFill>
            <a:blip r:embed="rId2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39739" y="5534526"/>
              <a:ext cx="668549" cy="663751"/>
            </a:xfrm>
            <a:prstGeom prst="rect">
              <a:avLst/>
            </a:prstGeom>
          </p:spPr>
        </p:pic>
        <p:sp>
          <p:nvSpPr>
            <p:cNvPr id="47" name="object 47"/>
            <p:cNvSpPr/>
            <p:nvPr/>
          </p:nvSpPr>
          <p:spPr>
            <a:xfrm>
              <a:off x="2410557" y="2327675"/>
              <a:ext cx="3176905" cy="4108450"/>
            </a:xfrm>
            <a:custGeom>
              <a:avLst/>
              <a:gdLst/>
              <a:ahLst/>
              <a:cxnLst/>
              <a:rect l="l" t="t" r="r" b="b"/>
              <a:pathLst>
                <a:path w="3176904" h="4108450">
                  <a:moveTo>
                    <a:pt x="0" y="0"/>
                  </a:moveTo>
                  <a:lnTo>
                    <a:pt x="3176630" y="0"/>
                  </a:lnTo>
                  <a:lnTo>
                    <a:pt x="3176630" y="4108132"/>
                  </a:lnTo>
                  <a:lnTo>
                    <a:pt x="0" y="4108132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rgbClr val="1E4D1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8" name="object 48"/>
            <p:cNvPicPr/>
            <p:nvPr/>
          </p:nvPicPr>
          <p:blipFill>
            <a:blip r:embed="rId30" cstate="print"/>
            <a:stretch>
              <a:fillRect/>
            </a:stretch>
          </p:blipFill>
          <p:spPr>
            <a:xfrm>
              <a:off x="299207" y="6458833"/>
              <a:ext cx="327012" cy="307776"/>
            </a:xfrm>
            <a:prstGeom prst="rect">
              <a:avLst/>
            </a:prstGeom>
          </p:spPr>
        </p:pic>
      </p:grpSp>
      <p:sp>
        <p:nvSpPr>
          <p:cNvPr id="49" name="object 49"/>
          <p:cNvSpPr txBox="1"/>
          <p:nvPr/>
        </p:nvSpPr>
        <p:spPr>
          <a:xfrm>
            <a:off x="691104" y="6484620"/>
            <a:ext cx="2933065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i="1" dirty="0">
                <a:latin typeface="Calibri"/>
                <a:cs typeface="Calibri"/>
              </a:rPr>
              <a:t>Follow</a:t>
            </a:r>
            <a:r>
              <a:rPr sz="1400" b="1" i="1" spc="-40" dirty="0">
                <a:latin typeface="Calibri"/>
                <a:cs typeface="Calibri"/>
              </a:rPr>
              <a:t> </a:t>
            </a:r>
            <a:r>
              <a:rPr sz="1400" b="1" i="1" dirty="0">
                <a:latin typeface="Calibri"/>
                <a:cs typeface="Calibri"/>
              </a:rPr>
              <a:t>us</a:t>
            </a:r>
            <a:r>
              <a:rPr sz="1400" b="1" i="1" spc="-30" dirty="0">
                <a:latin typeface="Calibri"/>
                <a:cs typeface="Calibri"/>
              </a:rPr>
              <a:t> </a:t>
            </a:r>
            <a:r>
              <a:rPr sz="1400" b="1" i="1" dirty="0">
                <a:latin typeface="Calibri"/>
                <a:cs typeface="Calibri"/>
              </a:rPr>
              <a:t>on</a:t>
            </a:r>
            <a:r>
              <a:rPr sz="1400" b="1" i="1" spc="-40" dirty="0">
                <a:latin typeface="Calibri"/>
                <a:cs typeface="Calibri"/>
              </a:rPr>
              <a:t> </a:t>
            </a:r>
            <a:r>
              <a:rPr sz="1400" b="1" i="1" dirty="0">
                <a:latin typeface="Calibri"/>
                <a:cs typeface="Calibri"/>
              </a:rPr>
              <a:t>Instagram</a:t>
            </a:r>
            <a:r>
              <a:rPr sz="1400" b="1" i="1" spc="-30" dirty="0">
                <a:latin typeface="Calibri"/>
                <a:cs typeface="Calibri"/>
              </a:rPr>
              <a:t> </a:t>
            </a:r>
            <a:r>
              <a:rPr sz="1400" b="1" i="1" dirty="0">
                <a:latin typeface="Calibri"/>
                <a:cs typeface="Calibri"/>
              </a:rPr>
              <a:t>at</a:t>
            </a:r>
            <a:r>
              <a:rPr sz="1400" b="1" i="1" spc="-35" dirty="0">
                <a:latin typeface="Calibri"/>
                <a:cs typeface="Calibri"/>
              </a:rPr>
              <a:t> </a:t>
            </a:r>
            <a:r>
              <a:rPr sz="1400" b="1" i="1" spc="-10" dirty="0" err="1">
                <a:latin typeface="Calibri"/>
                <a:cs typeface="Calibri"/>
              </a:rPr>
              <a:t>cpasschicago</a:t>
            </a:r>
            <a:endParaRPr sz="1400" dirty="0">
              <a:latin typeface="Calibri"/>
              <a:cs typeface="Calibri"/>
            </a:endParaRPr>
          </a:p>
        </p:txBody>
      </p:sp>
      <p:pic>
        <p:nvPicPr>
          <p:cNvPr id="51" name="Picture 50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63576654-7B10-8949-97D8-4A8574E424BC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4147880" y="755862"/>
            <a:ext cx="1083593" cy="1083593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8ABCA87E-DE61-9C4D-954A-79F0E4E95C1F}"/>
              </a:ext>
            </a:extLst>
          </p:cNvPr>
          <p:cNvSpPr txBox="1"/>
          <p:nvPr/>
        </p:nvSpPr>
        <p:spPr>
          <a:xfrm>
            <a:off x="3479377" y="1785718"/>
            <a:ext cx="24205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/>
              <a:t>Find us at </a:t>
            </a:r>
            <a:r>
              <a:rPr lang="en-US" i="1" dirty="0" err="1"/>
              <a:t>rush.edu</a:t>
            </a:r>
            <a:r>
              <a:rPr lang="en-US" i="1" dirty="0"/>
              <a:t>/</a:t>
            </a:r>
            <a:r>
              <a:rPr lang="en-US" i="1" dirty="0" err="1"/>
              <a:t>suid</a:t>
            </a:r>
            <a:endParaRPr lang="en-US" i="1"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03C6F4E6-30A1-4F63-C8CC-028750B5AA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12196668" cy="4570886"/>
            <a:chOff x="0" y="0"/>
            <a:chExt cx="12196668" cy="45708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EA7CA8-3AE6-4F5F-9932-63303CF2D4D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0800000">
              <a:off x="0" y="0"/>
              <a:ext cx="12196668" cy="4570632"/>
            </a:xfrm>
            <a:prstGeom prst="rect">
              <a:avLst/>
            </a:prstGeom>
            <a:gradFill>
              <a:gsLst>
                <a:gs pos="0">
                  <a:schemeClr val="accent5"/>
                </a:gs>
                <a:gs pos="100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6E3E019-A259-1130-CC5C-3165020BC55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791"/>
              <a:ext cx="10565988" cy="4568095"/>
            </a:xfrm>
            <a:prstGeom prst="rect">
              <a:avLst/>
            </a:prstGeom>
            <a:gradFill flip="none" rotWithShape="1">
              <a:gsLst>
                <a:gs pos="3000">
                  <a:schemeClr val="accent2"/>
                </a:gs>
                <a:gs pos="40000">
                  <a:schemeClr val="accent2">
                    <a:alpha val="0"/>
                  </a:schemeClr>
                </a:gs>
              </a:gsLst>
              <a:lin ang="17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0769F99-CCA6-5CDC-D1E1-C59A4762F1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"/>
              <a:ext cx="12192000" cy="4549891"/>
            </a:xfrm>
            <a:prstGeom prst="rect">
              <a:avLst/>
            </a:prstGeom>
            <a:gradFill>
              <a:gsLst>
                <a:gs pos="0">
                  <a:schemeClr val="accent5">
                    <a:alpha val="76000"/>
                  </a:schemeClr>
                </a:gs>
                <a:gs pos="67000">
                  <a:schemeClr val="accent2">
                    <a:alpha val="0"/>
                  </a:schemeClr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13E73D3-029B-3D4E-1956-8EE7068A60C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0800000">
              <a:off x="4110544" y="18215"/>
              <a:ext cx="8086124" cy="4549887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50000"/>
                    <a:alpha val="36000"/>
                  </a:schemeClr>
                </a:gs>
                <a:gs pos="45000">
                  <a:schemeClr val="accent5">
                    <a:alpha val="0"/>
                  </a:schemeClr>
                </a:gs>
              </a:gsLst>
              <a:lin ang="4200000" scaled="0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DEAE16C-3F10-D448-8836-2461E2827B6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6347" y="1124262"/>
            <a:ext cx="9575520" cy="2690413"/>
          </a:xfrm>
        </p:spPr>
        <p:txBody>
          <a:bodyPr anchor="t">
            <a:normAutofit fontScale="90000"/>
          </a:bodyPr>
          <a:lstStyle/>
          <a:p>
            <a:pPr algn="l"/>
            <a:r>
              <a:rPr lang="en-US" sz="5400" dirty="0">
                <a:solidFill>
                  <a:srgbClr val="FFFFFF"/>
                </a:solidFill>
              </a:rPr>
              <a:t>Closing the Loop to Prevent SUID: Birth Hospital Outreach</a:t>
            </a:r>
            <a:br>
              <a:rPr lang="en-US" sz="5400" dirty="0">
                <a:solidFill>
                  <a:srgbClr val="FFFFFF"/>
                </a:solidFill>
              </a:rPr>
            </a:br>
            <a:r>
              <a:rPr lang="en-US" sz="3200" dirty="0">
                <a:solidFill>
                  <a:srgbClr val="FFFFFF"/>
                </a:solidFill>
              </a:rPr>
              <a:t>Christie Lawrence DNP, RNC-NIC, APN/CNS </a:t>
            </a:r>
            <a:br>
              <a:rPr lang="en-US" sz="3200" dirty="0">
                <a:solidFill>
                  <a:srgbClr val="FFFFFF"/>
                </a:solidFill>
              </a:rPr>
            </a:br>
            <a:r>
              <a:rPr lang="en-US" sz="3200" dirty="0">
                <a:solidFill>
                  <a:srgbClr val="FFFFFF"/>
                </a:solidFill>
              </a:rPr>
              <a:t>Gina Lowell MD, MPH</a:t>
            </a:r>
            <a:br>
              <a:rPr lang="en-US" sz="3200" dirty="0">
                <a:solidFill>
                  <a:srgbClr val="FFFFFF"/>
                </a:solidFill>
              </a:rPr>
            </a:br>
            <a:r>
              <a:rPr lang="en-US" sz="3200" dirty="0" err="1">
                <a:solidFill>
                  <a:srgbClr val="FFFFFF"/>
                </a:solidFill>
              </a:rPr>
              <a:t>Rojin</a:t>
            </a:r>
            <a:r>
              <a:rPr lang="en-US" sz="3200" dirty="0">
                <a:solidFill>
                  <a:srgbClr val="FFFFFF"/>
                </a:solidFill>
              </a:rPr>
              <a:t> </a:t>
            </a:r>
            <a:r>
              <a:rPr lang="en-US" sz="3200" dirty="0" err="1">
                <a:solidFill>
                  <a:srgbClr val="FFFFFF"/>
                </a:solidFill>
              </a:rPr>
              <a:t>Ahadi</a:t>
            </a:r>
            <a:r>
              <a:rPr lang="en-US" sz="3200" dirty="0">
                <a:solidFill>
                  <a:srgbClr val="FFFFFF"/>
                </a:solidFill>
              </a:rPr>
              <a:t> MPH</a:t>
            </a:r>
            <a:br>
              <a:rPr lang="en-US" sz="3200" dirty="0">
                <a:solidFill>
                  <a:srgbClr val="FFFFFF"/>
                </a:solidFill>
              </a:rPr>
            </a:br>
            <a:endParaRPr lang="en-US" sz="5400" b="1" dirty="0">
              <a:solidFill>
                <a:srgbClr val="FFFFFF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0BE71B4-B004-BB4D-8CEE-BB3A67343F08}"/>
              </a:ext>
            </a:extLst>
          </p:cNvPr>
          <p:cNvSpPr txBox="1"/>
          <p:nvPr/>
        </p:nvSpPr>
        <p:spPr>
          <a:xfrm>
            <a:off x="170521" y="4621193"/>
            <a:ext cx="30285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ok County SUID Case Registry and Prevention</a:t>
            </a:r>
          </a:p>
        </p:txBody>
      </p:sp>
      <p:pic>
        <p:nvPicPr>
          <p:cNvPr id="18" name="Picture 17" descr="A picture containing text, sky, outdoor, sign&#10;&#10;Description automatically generated">
            <a:extLst>
              <a:ext uri="{FF2B5EF4-FFF2-40B4-BE49-F238E27FC236}">
                <a16:creationId xmlns:a16="http://schemas.microsoft.com/office/drawing/2014/main" id="{55994AF7-1A6A-9E40-AEC3-E70C7832277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279" y="5198779"/>
            <a:ext cx="1137109" cy="1471552"/>
          </a:xfrm>
          <a:prstGeom prst="rect">
            <a:avLst/>
          </a:prstGeom>
          <a:ln>
            <a:solidFill>
              <a:srgbClr val="006831"/>
            </a:solidFill>
          </a:ln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F76EDA9-B033-524E-9668-EE48D401D3C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7492" y="5198779"/>
            <a:ext cx="1145366" cy="1482238"/>
          </a:xfrm>
          <a:prstGeom prst="rect">
            <a:avLst/>
          </a:prstGeom>
          <a:solidFill>
            <a:schemeClr val="bg1"/>
          </a:solidFill>
          <a:ln>
            <a:solidFill>
              <a:srgbClr val="1E4D10"/>
            </a:solidFill>
          </a:ln>
        </p:spPr>
      </p:pic>
      <p:pic>
        <p:nvPicPr>
          <p:cNvPr id="4" name="Picture 3" descr="A logo for a hospital&#10;&#10;Description automatically generated">
            <a:extLst>
              <a:ext uri="{FF2B5EF4-FFF2-40B4-BE49-F238E27FC236}">
                <a16:creationId xmlns:a16="http://schemas.microsoft.com/office/drawing/2014/main" id="{E54E036F-BB0A-C84F-9539-457980FCD5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3418" y="4730544"/>
            <a:ext cx="1653123" cy="925749"/>
          </a:xfrm>
          <a:prstGeom prst="rect">
            <a:avLst/>
          </a:prstGeom>
        </p:spPr>
      </p:pic>
      <p:pic>
        <p:nvPicPr>
          <p:cNvPr id="15" name="Picture 2" descr="Prentice Women's Hospital | Chicago, IL | Northwestern Medicine">
            <a:extLst>
              <a:ext uri="{FF2B5EF4-FFF2-40B4-BE49-F238E27FC236}">
                <a16:creationId xmlns:a16="http://schemas.microsoft.com/office/drawing/2014/main" id="{F2F7B712-EFAD-CE47-B30B-C49893AF9C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88370" y="5707356"/>
            <a:ext cx="1653123" cy="803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 descr="Blue text on a black background&#10;&#10;Description automatically generated">
            <a:extLst>
              <a:ext uri="{FF2B5EF4-FFF2-40B4-BE49-F238E27FC236}">
                <a16:creationId xmlns:a16="http://schemas.microsoft.com/office/drawing/2014/main" id="{A730C529-9D74-CD45-97D4-D873F6664A0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1194" y="4884402"/>
            <a:ext cx="1905001" cy="444963"/>
          </a:xfrm>
          <a:prstGeom prst="rect">
            <a:avLst/>
          </a:prstGeom>
        </p:spPr>
      </p:pic>
      <p:pic>
        <p:nvPicPr>
          <p:cNvPr id="21" name="Picture 20" descr="A close up of a logo&#10;&#10;Description automatically generated">
            <a:extLst>
              <a:ext uri="{FF2B5EF4-FFF2-40B4-BE49-F238E27FC236}">
                <a16:creationId xmlns:a16="http://schemas.microsoft.com/office/drawing/2014/main" id="{8EE0805A-1223-174C-A93B-DEDEDB1509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58766" y="4913581"/>
            <a:ext cx="2379314" cy="364925"/>
          </a:xfrm>
          <a:prstGeom prst="rect">
            <a:avLst/>
          </a:prstGeom>
        </p:spPr>
      </p:pic>
      <p:pic>
        <p:nvPicPr>
          <p:cNvPr id="22" name="Picture 21" descr="A purple text on a black background&#10;&#10;Description automatically generated">
            <a:extLst>
              <a:ext uri="{FF2B5EF4-FFF2-40B4-BE49-F238E27FC236}">
                <a16:creationId xmlns:a16="http://schemas.microsoft.com/office/drawing/2014/main" id="{0CFB6AEE-58C5-2B40-BBA1-F9D2BC87FF6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2739" y="5581411"/>
            <a:ext cx="2108526" cy="516374"/>
          </a:xfrm>
          <a:prstGeom prst="rect">
            <a:avLst/>
          </a:prstGeom>
        </p:spPr>
      </p:pic>
      <p:pic>
        <p:nvPicPr>
          <p:cNvPr id="3074" name="Picture 2" descr="West Suburban Medical Center | LinkedIn">
            <a:extLst>
              <a:ext uri="{FF2B5EF4-FFF2-40B4-BE49-F238E27FC236}">
                <a16:creationId xmlns:a16="http://schemas.microsoft.com/office/drawing/2014/main" id="{8B5E7C39-715C-EE45-8F99-3903E1774F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48" t="27384" r="26053" b="24323"/>
          <a:stretch/>
        </p:blipFill>
        <p:spPr bwMode="auto">
          <a:xfrm>
            <a:off x="5648147" y="5503894"/>
            <a:ext cx="2108526" cy="671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00764713-C1B7-484D-9B8D-BC37E063F8DE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8836" y="4792150"/>
            <a:ext cx="2285112" cy="642008"/>
          </a:xfrm>
          <a:prstGeom prst="rect">
            <a:avLst/>
          </a:prstGeom>
        </p:spPr>
      </p:pic>
      <p:pic>
        <p:nvPicPr>
          <p:cNvPr id="23" name="Picture 22" descr="A close up of a logo&#10;&#10;Description automatically generated">
            <a:extLst>
              <a:ext uri="{FF2B5EF4-FFF2-40B4-BE49-F238E27FC236}">
                <a16:creationId xmlns:a16="http://schemas.microsoft.com/office/drawing/2014/main" id="{D1704460-DBD7-7346-81CD-7DDF8F1D1BF3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1034" y="5479827"/>
            <a:ext cx="2108525" cy="638946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EDEAAFA1-CFE2-E041-8D11-CE9073474D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9257" y="6137171"/>
            <a:ext cx="1651090" cy="650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Franciscan Health Logo">
            <a:extLst>
              <a:ext uri="{FF2B5EF4-FFF2-40B4-BE49-F238E27FC236}">
                <a16:creationId xmlns:a16="http://schemas.microsoft.com/office/drawing/2014/main" id="{F46ECD8B-4D7C-4A4C-AE7C-E72FA1983C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26094" y="6227185"/>
            <a:ext cx="1837337" cy="490598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2050" name="Picture 2" descr="Image preview">
            <a:extLst>
              <a:ext uri="{FF2B5EF4-FFF2-40B4-BE49-F238E27FC236}">
                <a16:creationId xmlns:a16="http://schemas.microsoft.com/office/drawing/2014/main" id="{49B8E45B-EFC5-2A43-A82C-C68067B06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04230" y="6474794"/>
            <a:ext cx="1738087" cy="151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preview">
            <a:extLst>
              <a:ext uri="{FF2B5EF4-FFF2-40B4-BE49-F238E27FC236}">
                <a16:creationId xmlns:a16="http://schemas.microsoft.com/office/drawing/2014/main" id="{ECD50CEC-08AC-AE4B-A9E4-AC3CEEBDDA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22464" y="6245038"/>
            <a:ext cx="2047020" cy="454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711BC6E-B82F-3546-BB3A-A70E4C8C3207}"/>
              </a:ext>
            </a:extLst>
          </p:cNvPr>
          <p:cNvCxnSpPr>
            <a:cxnSpLocks/>
          </p:cNvCxnSpPr>
          <p:nvPr/>
        </p:nvCxnSpPr>
        <p:spPr>
          <a:xfrm flipH="1" flipV="1">
            <a:off x="3399808" y="4884403"/>
            <a:ext cx="1187" cy="183338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453788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4479640-F584-6B4A-BCBF-062DAEF0DDC8}"/>
              </a:ext>
            </a:extLst>
          </p:cNvPr>
          <p:cNvSpPr txBox="1">
            <a:spLocks/>
          </p:cNvSpPr>
          <p:nvPr/>
        </p:nvSpPr>
        <p:spPr>
          <a:xfrm>
            <a:off x="613496" y="1503703"/>
            <a:ext cx="900761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ok County IL is the 2</a:t>
            </a:r>
            <a:r>
              <a:rPr kumimoji="0" lang="en-US" sz="2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argest county in the US, birthing ~56,000 infants every year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m 2019-2021, 141 sleep-related SUIDs occurred in Cook County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% of SUIDs are from suffocation; 75% remain undetermined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arly all (99%) SUIDs had one or more unsafe sleep factor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ack infants died from SUID ~15 times more often than White infant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spanic infants died from SUID ~3 times more often than White infant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% of SUIDs occurred in preterm infant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ak age of SUID </a:t>
            </a:r>
            <a:r>
              <a:rPr lang="en-US" sz="1800" dirty="0">
                <a:solidFill>
                  <a:prstClr val="black"/>
                </a:solidFill>
                <a:latin typeface="Calibri" panose="020F0502020204030204"/>
              </a:rPr>
              <a:t>is 1-2 months old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re is no system in place for Cook County birth hospitals to hear about the infants they discharged who subsequently died from SUID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A picture containing text, sky, outdoor, sign&#10;&#10;Description automatically generated">
            <a:extLst>
              <a:ext uri="{FF2B5EF4-FFF2-40B4-BE49-F238E27FC236}">
                <a16:creationId xmlns:a16="http://schemas.microsoft.com/office/drawing/2014/main" id="{A09E2BAE-EE2F-4F4A-8B5C-EBCC13E2AA6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887" y="2049970"/>
            <a:ext cx="1925724" cy="2492112"/>
          </a:xfrm>
          <a:prstGeom prst="rect">
            <a:avLst/>
          </a:prstGeom>
          <a:ln>
            <a:solidFill>
              <a:srgbClr val="00683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2709F2-6DA5-B346-A6F1-F7DC8CE6265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324" y="2839679"/>
            <a:ext cx="1939707" cy="2510209"/>
          </a:xfrm>
          <a:prstGeom prst="rect">
            <a:avLst/>
          </a:prstGeom>
          <a:solidFill>
            <a:schemeClr val="bg1"/>
          </a:solidFill>
          <a:ln>
            <a:solidFill>
              <a:srgbClr val="1E4D10"/>
            </a:solidFill>
          </a:ln>
        </p:spPr>
      </p:pic>
    </p:spTree>
    <p:extLst>
      <p:ext uri="{BB962C8B-B14F-4D97-AF65-F5344CB8AC3E}">
        <p14:creationId xmlns:p14="http://schemas.microsoft.com/office/powerpoint/2010/main" val="288460018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map with blue squares and blue points&#10;&#10;Description automatically generated">
            <a:extLst>
              <a:ext uri="{FF2B5EF4-FFF2-40B4-BE49-F238E27FC236}">
                <a16:creationId xmlns:a16="http://schemas.microsoft.com/office/drawing/2014/main" id="{6FD02F94-81DB-E747-A806-481DB1ED79D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5328" y="592444"/>
            <a:ext cx="5224318" cy="5551709"/>
          </a:xfrm>
          <a:prstGeom prst="rect">
            <a:avLst/>
          </a:prstGeom>
        </p:spPr>
      </p:pic>
      <p:pic>
        <p:nvPicPr>
          <p:cNvPr id="4" name="Picture 3" descr="A map with blue dots&#10;&#10;Description automatically generated">
            <a:extLst>
              <a:ext uri="{FF2B5EF4-FFF2-40B4-BE49-F238E27FC236}">
                <a16:creationId xmlns:a16="http://schemas.microsoft.com/office/drawing/2014/main" id="{B5C4D203-D944-C34E-ADDC-01E1FD05BCE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354" y="597783"/>
            <a:ext cx="4921854" cy="5551708"/>
          </a:xfrm>
          <a:prstGeom prst="rect">
            <a:avLst/>
          </a:prstGeom>
        </p:spPr>
      </p:pic>
      <p:pic>
        <p:nvPicPr>
          <p:cNvPr id="12" name="Picture 11" descr="A red star with white text&#10;&#10;Description automatically generated">
            <a:extLst>
              <a:ext uri="{FF2B5EF4-FFF2-40B4-BE49-F238E27FC236}">
                <a16:creationId xmlns:a16="http://schemas.microsoft.com/office/drawing/2014/main" id="{41F290EF-8A51-AF40-8A56-B4EA3B6E7B2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8778" y="5120263"/>
            <a:ext cx="2439987" cy="81716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C008166-55DD-7D48-86FC-094A37FAFA26}"/>
              </a:ext>
            </a:extLst>
          </p:cNvPr>
          <p:cNvSpPr txBox="1"/>
          <p:nvPr/>
        </p:nvSpPr>
        <p:spPr>
          <a:xfrm>
            <a:off x="402318" y="6144153"/>
            <a:ext cx="34167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pping: SUID and Birth Hospital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B5485EB-5063-044A-927F-4384D54EBB7C}"/>
              </a:ext>
            </a:extLst>
          </p:cNvPr>
          <p:cNvSpPr txBox="1"/>
          <p:nvPr/>
        </p:nvSpPr>
        <p:spPr>
          <a:xfrm>
            <a:off x="10321637" y="2701637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F526E6-C8E0-AF41-81D0-ED42DD014213}"/>
              </a:ext>
            </a:extLst>
          </p:cNvPr>
          <p:cNvSpPr txBox="1"/>
          <p:nvPr/>
        </p:nvSpPr>
        <p:spPr>
          <a:xfrm>
            <a:off x="10231616" y="3484420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DB203AC-482B-044A-A1C2-DE786DF469E6}"/>
              </a:ext>
            </a:extLst>
          </p:cNvPr>
          <p:cNvSpPr/>
          <p:nvPr/>
        </p:nvSpPr>
        <p:spPr>
          <a:xfrm>
            <a:off x="7590971" y="6129639"/>
            <a:ext cx="4310743" cy="60499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7183B0-B53E-254C-86B8-9CE4BE36AB43}"/>
              </a:ext>
            </a:extLst>
          </p:cNvPr>
          <p:cNvSpPr txBox="1"/>
          <p:nvPr/>
        </p:nvSpPr>
        <p:spPr>
          <a:xfrm>
            <a:off x="7709529" y="6178519"/>
            <a:ext cx="419218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rth Hospital Point Layer: Cook County’s 11 Birth Hospitals with the greatest number of infants discharged who subsequently died of SUID.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UID Count by Zip Code, 2019-2021)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D30826-4A3E-E341-B9D5-835C71DBA258}"/>
              </a:ext>
            </a:extLst>
          </p:cNvPr>
          <p:cNvSpPr/>
          <p:nvPr/>
        </p:nvSpPr>
        <p:spPr>
          <a:xfrm>
            <a:off x="1068504" y="5151214"/>
            <a:ext cx="1757823" cy="7862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leep-related SUIDs of Cook County, 2019-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141)</a:t>
            </a:r>
          </a:p>
        </p:txBody>
      </p:sp>
      <p:pic>
        <p:nvPicPr>
          <p:cNvPr id="1026" name="Picture 2" descr="Here Icons - Free SVG &amp; PNG Here Images - Noun Project">
            <a:extLst>
              <a:ext uri="{FF2B5EF4-FFF2-40B4-BE49-F238E27FC236}">
                <a16:creationId xmlns:a16="http://schemas.microsoft.com/office/drawing/2014/main" id="{4A4C6BAD-832C-2945-8548-2177CC1D83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31616" y="4928490"/>
            <a:ext cx="276999" cy="276999"/>
          </a:xfrm>
          <a:prstGeom prst="rect">
            <a:avLst/>
          </a:prstGeom>
          <a:noFill/>
        </p:spPr>
      </p:pic>
      <p:pic>
        <p:nvPicPr>
          <p:cNvPr id="14" name="Picture 2" descr="Here Icons - Free SVG &amp; PNG Here Images - Noun Project">
            <a:extLst>
              <a:ext uri="{FF2B5EF4-FFF2-40B4-BE49-F238E27FC236}">
                <a16:creationId xmlns:a16="http://schemas.microsoft.com/office/drawing/2014/main" id="{F4340FD0-5D3F-1043-8110-D5E2ED9D25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54617" y="5858901"/>
            <a:ext cx="276999" cy="276999"/>
          </a:xfrm>
          <a:prstGeom prst="rect">
            <a:avLst/>
          </a:prstGeom>
          <a:noFill/>
        </p:spPr>
      </p:pic>
      <p:pic>
        <p:nvPicPr>
          <p:cNvPr id="15" name="Picture 2" descr="Here Icons - Free SVG &amp; PNG Here Images - Noun Project">
            <a:extLst>
              <a:ext uri="{FF2B5EF4-FFF2-40B4-BE49-F238E27FC236}">
                <a16:creationId xmlns:a16="http://schemas.microsoft.com/office/drawing/2014/main" id="{247F9684-5B3F-8E4F-8748-F14287382F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31569" y="1352214"/>
            <a:ext cx="276999" cy="276999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</p:pic>
      <p:pic>
        <p:nvPicPr>
          <p:cNvPr id="16" name="Picture 2" descr="Here Icons - Free SVG &amp; PNG Here Images - Noun Project">
            <a:extLst>
              <a:ext uri="{FF2B5EF4-FFF2-40B4-BE49-F238E27FC236}">
                <a16:creationId xmlns:a16="http://schemas.microsoft.com/office/drawing/2014/main" id="{0AC9FF57-14BD-B94D-AFF1-623AFB839B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20779" y="455725"/>
            <a:ext cx="276999" cy="27699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9972561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map with blue squares&#10;&#10;Description automatically generated">
            <a:extLst>
              <a:ext uri="{FF2B5EF4-FFF2-40B4-BE49-F238E27FC236}">
                <a16:creationId xmlns:a16="http://schemas.microsoft.com/office/drawing/2014/main" id="{6AC87436-C8B7-EB49-8A79-C628EACB79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7794" y="653146"/>
            <a:ext cx="4745702" cy="5551708"/>
          </a:xfrm>
          <a:prstGeom prst="rect">
            <a:avLst/>
          </a:prstGeom>
        </p:spPr>
      </p:pic>
      <p:pic>
        <p:nvPicPr>
          <p:cNvPr id="4" name="Picture 3" descr="A map with blue dots&#10;&#10;Description automatically generated">
            <a:extLst>
              <a:ext uri="{FF2B5EF4-FFF2-40B4-BE49-F238E27FC236}">
                <a16:creationId xmlns:a16="http://schemas.microsoft.com/office/drawing/2014/main" id="{B5C4D203-D944-C34E-ADDC-01E1FD05BCE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354" y="597783"/>
            <a:ext cx="4921854" cy="555170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857F6D3-CD11-0E4E-8D2C-53FAEB1BD147}"/>
              </a:ext>
            </a:extLst>
          </p:cNvPr>
          <p:cNvSpPr/>
          <p:nvPr/>
        </p:nvSpPr>
        <p:spPr>
          <a:xfrm>
            <a:off x="1068504" y="5151214"/>
            <a:ext cx="1757823" cy="7862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leep-related SUIDs of Cook County, 2019-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141)</a:t>
            </a:r>
          </a:p>
        </p:txBody>
      </p:sp>
      <p:pic>
        <p:nvPicPr>
          <p:cNvPr id="12" name="Picture 11" descr="A red star with white text&#10;&#10;Description automatically generated">
            <a:extLst>
              <a:ext uri="{FF2B5EF4-FFF2-40B4-BE49-F238E27FC236}">
                <a16:creationId xmlns:a16="http://schemas.microsoft.com/office/drawing/2014/main" id="{41F290EF-8A51-AF40-8A56-B4EA3B6E7B2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2603" y="5120263"/>
            <a:ext cx="2439987" cy="81716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917A60A-98BE-8D40-B78F-78B81C2BE932}"/>
              </a:ext>
            </a:extLst>
          </p:cNvPr>
          <p:cNvSpPr/>
          <p:nvPr/>
        </p:nvSpPr>
        <p:spPr>
          <a:xfrm>
            <a:off x="7803012" y="6120463"/>
            <a:ext cx="4131814" cy="70850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7183B0-B53E-254C-86B8-9CE4BE36AB43}"/>
              </a:ext>
            </a:extLst>
          </p:cNvPr>
          <p:cNvSpPr txBox="1"/>
          <p:nvPr/>
        </p:nvSpPr>
        <p:spPr>
          <a:xfrm>
            <a:off x="7842596" y="6096816"/>
            <a:ext cx="413181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Hardship Index is a composite score reflecting hardship in the community (higher values indicate greater hardship). It incorporates unemployment, age dependency, education, per capita income, crowded housing, and poverty into a single score that allows comparison between geographies. It is highly correlated with other measures of economic hardship, such as labor force statistics, and with poor health outcomes.</a:t>
            </a:r>
          </a:p>
        </p:txBody>
      </p:sp>
    </p:spTree>
    <p:extLst>
      <p:ext uri="{BB962C8B-B14F-4D97-AF65-F5344CB8AC3E}">
        <p14:creationId xmlns:p14="http://schemas.microsoft.com/office/powerpoint/2010/main" val="112212840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5F1A376-8C6A-9E4E-825C-822C6999D42C}"/>
              </a:ext>
            </a:extLst>
          </p:cNvPr>
          <p:cNvSpPr/>
          <p:nvPr/>
        </p:nvSpPr>
        <p:spPr>
          <a:xfrm>
            <a:off x="232013" y="6030571"/>
            <a:ext cx="11959988" cy="70944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AFE3F5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D58C08BE-A715-C646-A45E-65EEBFD14BC6}"/>
              </a:ext>
            </a:extLst>
          </p:cNvPr>
          <p:cNvSpPr txBox="1">
            <a:spLocks/>
          </p:cNvSpPr>
          <p:nvPr/>
        </p:nvSpPr>
        <p:spPr>
          <a:xfrm>
            <a:off x="613103" y="722423"/>
            <a:ext cx="10965793" cy="70944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10000"/>
          </a:bodyPr>
          <a:lstStyle>
            <a:lvl1pPr algn="ctr" defTabSz="609585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47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Closing the Loop: Bringing SUID Case Registry Data back to Birth Hospitals</a:t>
            </a:r>
          </a:p>
        </p:txBody>
      </p:sp>
      <p:pic>
        <p:nvPicPr>
          <p:cNvPr id="3" name="Picture 2" descr="A diagram of a medical procedure&#10;&#10;Description automatically generated with medium confidence">
            <a:extLst>
              <a:ext uri="{FF2B5EF4-FFF2-40B4-BE49-F238E27FC236}">
                <a16:creationId xmlns:a16="http://schemas.microsoft.com/office/drawing/2014/main" id="{84CCD4A4-9907-3442-A807-FF269C55E0A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8953" y="1542282"/>
            <a:ext cx="7214092" cy="519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57426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aph of a number of patients&#10;&#10;Description automatically generated">
            <a:extLst>
              <a:ext uri="{FF2B5EF4-FFF2-40B4-BE49-F238E27FC236}">
                <a16:creationId xmlns:a16="http://schemas.microsoft.com/office/drawing/2014/main" id="{54466B18-E301-254A-9D4C-5732E6DEB11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9843" y="1632971"/>
            <a:ext cx="7028786" cy="4673873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695EFB6E-F1BE-2C40-9580-AB0C4DFF3248}"/>
              </a:ext>
            </a:extLst>
          </p:cNvPr>
          <p:cNvSpPr txBox="1">
            <a:spLocks/>
          </p:cNvSpPr>
          <p:nvPr/>
        </p:nvSpPr>
        <p:spPr>
          <a:xfrm>
            <a:off x="613103" y="722423"/>
            <a:ext cx="10965793" cy="7094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609585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47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SUID Rate by Hospital of Birth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150AE00-2651-F146-94E2-F270E81C0E1E}"/>
              </a:ext>
            </a:extLst>
          </p:cNvPr>
          <p:cNvCxnSpPr>
            <a:cxnSpLocks/>
          </p:cNvCxnSpPr>
          <p:nvPr/>
        </p:nvCxnSpPr>
        <p:spPr>
          <a:xfrm>
            <a:off x="3194898" y="4922520"/>
            <a:ext cx="6125563" cy="0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4AE729F-3751-974B-8705-220A399F25C9}"/>
              </a:ext>
            </a:extLst>
          </p:cNvPr>
          <p:cNvSpPr txBox="1"/>
          <p:nvPr/>
        </p:nvSpPr>
        <p:spPr>
          <a:xfrm>
            <a:off x="9320461" y="4640254"/>
            <a:ext cx="23183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ok County SUID rate: 0.83/1000</a:t>
            </a:r>
          </a:p>
        </p:txBody>
      </p:sp>
    </p:spTree>
    <p:extLst>
      <p:ext uri="{BB962C8B-B14F-4D97-AF65-F5344CB8AC3E}">
        <p14:creationId xmlns:p14="http://schemas.microsoft.com/office/powerpoint/2010/main" val="100564668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AA5D41-D8D1-694A-AA47-71081A008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596" y="246598"/>
            <a:ext cx="10515600" cy="1325563"/>
          </a:xfrm>
        </p:spPr>
        <p:txBody>
          <a:bodyPr>
            <a:noAutofit/>
          </a:bodyPr>
          <a:lstStyle/>
          <a:p>
            <a:r>
              <a:rPr lang="en-US" sz="3200" dirty="0"/>
              <a:t>Data to Action:</a:t>
            </a:r>
            <a:br>
              <a:rPr lang="en-US" sz="3200" dirty="0"/>
            </a:br>
            <a:r>
              <a:rPr lang="en-US" sz="3200" dirty="0"/>
              <a:t>Creating a Birth Hospital Learning Community to Prevent SUI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3AFE34B-2970-B440-86D3-0A8FE4CBD4A0}"/>
              </a:ext>
            </a:extLst>
          </p:cNvPr>
          <p:cNvSpPr txBox="1"/>
          <p:nvPr/>
        </p:nvSpPr>
        <p:spPr>
          <a:xfrm>
            <a:off x="387928" y="1609247"/>
            <a:ext cx="6207483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dentify and Connec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dentify and establish communication with nurse leadership from each birth hospital’s relevant units. 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hare Data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eeting #1 (completed with 9/9 hospitals)</a:t>
            </a:r>
          </a:p>
          <a:p>
            <a:pPr marL="1200150" marR="0" lvl="2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stablish relationships</a:t>
            </a:r>
          </a:p>
          <a:p>
            <a:pPr marL="1200150" marR="0" lvl="2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UID background and Cook County SUID-CR data</a:t>
            </a:r>
          </a:p>
          <a:p>
            <a:pPr marL="1200150" marR="0" lvl="2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ospital-specific SUID-CR data</a:t>
            </a:r>
          </a:p>
          <a:p>
            <a:pPr marL="1200150" marR="0" lvl="2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iscuss current hospital practices regarding safe sleep: safe sleep modeling, audits, and education of staff/parents/caregivers of newborns during the newborn’s hospital stay. </a:t>
            </a:r>
          </a:p>
          <a:p>
            <a:pPr marL="1200150" marR="0" lvl="2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eeting #2 (completed with 7/9 hospitals)</a:t>
            </a:r>
          </a:p>
          <a:p>
            <a:pPr marL="1200150" marR="0" lvl="2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ata transparency</a:t>
            </a:r>
          </a:p>
          <a:p>
            <a:pPr marL="1200150" marR="0" lvl="2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ase-level data regarding the circumstances of each SUID that occurred for families discharged from their hospital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uild a Learning Community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ustain relationships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gular meetings to share data, practice, success and learning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CCB2B18-0AD0-164F-99AB-5F8FD18CDE30}"/>
              </a:ext>
            </a:extLst>
          </p:cNvPr>
          <p:cNvSpPr txBox="1"/>
          <p:nvPr/>
        </p:nvSpPr>
        <p:spPr>
          <a:xfrm>
            <a:off x="3721581" y="6442375"/>
            <a:ext cx="52198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❖RELATIONSHIPS ❖TRANSPARENCY ❖CENTERING FAMILI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7B4FDD-F1D3-AA46-A672-1F66BE419C30}"/>
              </a:ext>
            </a:extLst>
          </p:cNvPr>
          <p:cNvSpPr txBox="1"/>
          <p:nvPr/>
        </p:nvSpPr>
        <p:spPr>
          <a:xfrm>
            <a:off x="10293926" y="3809850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E1FC1B3-17AF-ED4D-8F36-51C00E61899B}"/>
              </a:ext>
            </a:extLst>
          </p:cNvPr>
          <p:cNvSpPr txBox="1"/>
          <p:nvPr/>
        </p:nvSpPr>
        <p:spPr>
          <a:xfrm>
            <a:off x="10096228" y="5440122"/>
            <a:ext cx="269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</a:t>
            </a:r>
          </a:p>
        </p:txBody>
      </p:sp>
      <p:pic>
        <p:nvPicPr>
          <p:cNvPr id="11" name="Picture 10" descr="A white background with blue text&#10;&#10;Description automatically generated">
            <a:extLst>
              <a:ext uri="{FF2B5EF4-FFF2-40B4-BE49-F238E27FC236}">
                <a16:creationId xmlns:a16="http://schemas.microsoft.com/office/drawing/2014/main" id="{855FED3C-8185-7249-93C0-0F1C0E15949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5411" y="2422081"/>
            <a:ext cx="5472545" cy="3083312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188967839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568452" rIns="0" bIns="0" rtlCol="0">
            <a:spAutoFit/>
          </a:bodyPr>
          <a:lstStyle/>
          <a:p>
            <a:pPr marL="265430">
              <a:lnSpc>
                <a:spcPts val="4105"/>
              </a:lnSpc>
              <a:spcBef>
                <a:spcPts val="100"/>
              </a:spcBef>
            </a:pPr>
            <a:r>
              <a:rPr sz="3600" b="0">
                <a:solidFill>
                  <a:srgbClr val="4472C4"/>
                </a:solidFill>
                <a:latin typeface="Calibri"/>
                <a:cs typeface="Calibri"/>
              </a:rPr>
              <a:t>Barriers</a:t>
            </a:r>
            <a:r>
              <a:rPr sz="3600" b="0" spc="-125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3600" b="0">
                <a:solidFill>
                  <a:srgbClr val="4472C4"/>
                </a:solidFill>
                <a:latin typeface="Calibri"/>
                <a:cs typeface="Calibri"/>
              </a:rPr>
              <a:t>to</a:t>
            </a:r>
            <a:r>
              <a:rPr sz="3600" b="0" spc="-125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3600" b="0">
                <a:solidFill>
                  <a:srgbClr val="4472C4"/>
                </a:solidFill>
                <a:latin typeface="Calibri"/>
                <a:cs typeface="Calibri"/>
              </a:rPr>
              <a:t>Safe</a:t>
            </a:r>
            <a:r>
              <a:rPr sz="3600" b="0" spc="-130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3600" b="0" spc="-10">
                <a:solidFill>
                  <a:srgbClr val="4472C4"/>
                </a:solidFill>
                <a:latin typeface="Calibri"/>
                <a:cs typeface="Calibri"/>
              </a:rPr>
              <a:t>Sleep:</a:t>
            </a:r>
            <a:endParaRPr sz="3600">
              <a:latin typeface="Calibri"/>
              <a:cs typeface="Calibri"/>
            </a:endParaRPr>
          </a:p>
          <a:p>
            <a:pPr marL="265430">
              <a:lnSpc>
                <a:spcPts val="4105"/>
              </a:lnSpc>
            </a:pPr>
            <a:r>
              <a:rPr sz="3600" b="0">
                <a:solidFill>
                  <a:srgbClr val="4472C4"/>
                </a:solidFill>
                <a:latin typeface="Calibri"/>
                <a:cs typeface="Calibri"/>
              </a:rPr>
              <a:t>Family</a:t>
            </a:r>
            <a:r>
              <a:rPr sz="3600" b="0" spc="-75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3600" b="0">
                <a:solidFill>
                  <a:srgbClr val="4472C4"/>
                </a:solidFill>
                <a:latin typeface="Calibri"/>
                <a:cs typeface="Calibri"/>
              </a:rPr>
              <a:t>Experiences</a:t>
            </a:r>
            <a:r>
              <a:rPr sz="3600" b="0" spc="-65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3600" b="0">
                <a:solidFill>
                  <a:srgbClr val="4472C4"/>
                </a:solidFill>
                <a:latin typeface="Calibri"/>
                <a:cs typeface="Calibri"/>
              </a:rPr>
              <a:t>in</a:t>
            </a:r>
            <a:r>
              <a:rPr sz="3600" b="0" spc="-75">
                <a:solidFill>
                  <a:srgbClr val="4472C4"/>
                </a:solidFill>
                <a:latin typeface="Calibri"/>
                <a:cs typeface="Calibri"/>
              </a:rPr>
              <a:t> </a:t>
            </a:r>
            <a:r>
              <a:rPr sz="3600" b="0" spc="-10">
                <a:solidFill>
                  <a:srgbClr val="4472C4"/>
                </a:solidFill>
                <a:latin typeface="Calibri"/>
                <a:cs typeface="Calibri"/>
              </a:rPr>
              <a:t>Chicago</a:t>
            </a:r>
            <a:endParaRPr sz="36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504503" y="2211961"/>
            <a:ext cx="3716020" cy="3479165"/>
          </a:xfrm>
          <a:custGeom>
            <a:avLst/>
            <a:gdLst/>
            <a:ahLst/>
            <a:cxnLst/>
            <a:rect l="l" t="t" r="r" b="b"/>
            <a:pathLst>
              <a:path w="3716020" h="3479165">
                <a:moveTo>
                  <a:pt x="3715953" y="0"/>
                </a:moveTo>
                <a:lnTo>
                  <a:pt x="0" y="0"/>
                </a:lnTo>
                <a:lnTo>
                  <a:pt x="0" y="3478837"/>
                </a:lnTo>
                <a:lnTo>
                  <a:pt x="3715953" y="3478837"/>
                </a:lnTo>
                <a:lnTo>
                  <a:pt x="3715953" y="0"/>
                </a:lnTo>
                <a:close/>
              </a:path>
            </a:pathLst>
          </a:custGeom>
          <a:solidFill>
            <a:srgbClr val="FFE699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object 4"/>
          <p:cNvGraphicFramePr>
            <a:graphicFrameLocks noGrp="1"/>
          </p:cNvGraphicFramePr>
          <p:nvPr/>
        </p:nvGraphicFramePr>
        <p:xfrm>
          <a:off x="4220456" y="2238378"/>
          <a:ext cx="7575550" cy="34099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921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537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710055">
                <a:tc>
                  <a:txBody>
                    <a:bodyPr/>
                    <a:lstStyle/>
                    <a:p>
                      <a:pPr marL="123825">
                        <a:lnSpc>
                          <a:spcPts val="1750"/>
                        </a:lnSpc>
                        <a:spcBef>
                          <a:spcPts val="265"/>
                        </a:spcBef>
                      </a:pPr>
                      <a:r>
                        <a:rPr sz="1500" b="1" spc="-1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Safety</a:t>
                      </a:r>
                      <a:endParaRPr sz="1500">
                        <a:latin typeface="Calibri"/>
                        <a:cs typeface="Calibri"/>
                      </a:endParaRPr>
                    </a:p>
                    <a:p>
                      <a:pPr marL="733425" marR="152400" indent="-609600">
                        <a:lnSpc>
                          <a:spcPts val="1800"/>
                        </a:lnSpc>
                        <a:spcBef>
                          <a:spcPts val="10"/>
                        </a:spcBef>
                      </a:pPr>
                      <a:r>
                        <a:rPr sz="1500" spc="-2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Neighborhood</a:t>
                      </a:r>
                      <a:r>
                        <a:rPr sz="1500" spc="15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25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violence/Domestic</a:t>
                      </a:r>
                      <a:r>
                        <a:rPr sz="1500" spc="2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violence</a:t>
                      </a:r>
                      <a:r>
                        <a:rPr sz="1500" spc="50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2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Feels</a:t>
                      </a:r>
                      <a:r>
                        <a:rPr sz="1500" spc="-55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2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safer</a:t>
                      </a:r>
                      <a:r>
                        <a:rPr sz="1500" spc="-5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if</a:t>
                      </a:r>
                      <a:r>
                        <a:rPr sz="1500" spc="-55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baby</a:t>
                      </a:r>
                      <a:r>
                        <a:rPr sz="1500" spc="-55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is</a:t>
                      </a:r>
                      <a:r>
                        <a:rPr sz="1500" spc="-5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right</a:t>
                      </a:r>
                      <a:r>
                        <a:rPr sz="1500" spc="-6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next</a:t>
                      </a:r>
                      <a:r>
                        <a:rPr sz="1500" spc="-55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to</a:t>
                      </a:r>
                      <a:r>
                        <a:rPr sz="1500" spc="-55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parent </a:t>
                      </a:r>
                      <a:r>
                        <a:rPr sz="150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If</a:t>
                      </a:r>
                      <a:r>
                        <a:rPr sz="1500" spc="-45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2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something</a:t>
                      </a:r>
                      <a:r>
                        <a:rPr sz="1500" spc="-55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happens,</a:t>
                      </a:r>
                      <a:r>
                        <a:rPr sz="1500" spc="-45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baby</a:t>
                      </a:r>
                      <a:r>
                        <a:rPr sz="1500" spc="-5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is</a:t>
                      </a:r>
                      <a:r>
                        <a:rPr sz="1500" spc="-45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close</a:t>
                      </a:r>
                      <a:endParaRPr sz="1500">
                        <a:latin typeface="Calibri"/>
                        <a:cs typeface="Calibri"/>
                      </a:endParaRPr>
                    </a:p>
                    <a:p>
                      <a:pPr marL="123825">
                        <a:lnSpc>
                          <a:spcPts val="1645"/>
                        </a:lnSpc>
                      </a:pPr>
                      <a:r>
                        <a:rPr sz="1500" spc="-2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Shelter</a:t>
                      </a:r>
                      <a:r>
                        <a:rPr sz="1500" spc="-3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living</a:t>
                      </a:r>
                      <a:endParaRPr sz="1500">
                        <a:latin typeface="Calibri"/>
                        <a:cs typeface="Calibri"/>
                      </a:endParaRPr>
                    </a:p>
                    <a:p>
                      <a:pPr marL="733425">
                        <a:lnSpc>
                          <a:spcPts val="1750"/>
                        </a:lnSpc>
                      </a:pPr>
                      <a:r>
                        <a:rPr sz="1500" spc="-2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Fear</a:t>
                      </a:r>
                      <a:r>
                        <a:rPr sz="1500" spc="-5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baby</a:t>
                      </a:r>
                      <a:r>
                        <a:rPr sz="1500" spc="-55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will</a:t>
                      </a:r>
                      <a:r>
                        <a:rPr sz="1500" spc="-45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be</a:t>
                      </a:r>
                      <a:r>
                        <a:rPr sz="1500" spc="-6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taken</a:t>
                      </a:r>
                      <a:endParaRPr sz="1500">
                        <a:latin typeface="Calibri"/>
                        <a:cs typeface="Calibri"/>
                      </a:endParaRPr>
                    </a:p>
                    <a:p>
                      <a:pPr marL="733425">
                        <a:lnSpc>
                          <a:spcPts val="1750"/>
                        </a:lnSpc>
                      </a:pPr>
                      <a:r>
                        <a:rPr sz="1500" spc="-1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Cribs</a:t>
                      </a:r>
                      <a:r>
                        <a:rPr sz="1500" spc="-3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25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unavailable</a:t>
                      </a:r>
                      <a:r>
                        <a:rPr sz="1500" spc="-4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in</a:t>
                      </a:r>
                      <a:r>
                        <a:rPr sz="1500" spc="-25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some</a:t>
                      </a:r>
                      <a:r>
                        <a:rPr sz="1500" spc="-4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A23B13"/>
                          </a:solidFill>
                          <a:latin typeface="Calibri"/>
                          <a:cs typeface="Calibri"/>
                        </a:rPr>
                        <a:t>shelters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marL="124460">
                        <a:lnSpc>
                          <a:spcPts val="1750"/>
                        </a:lnSpc>
                        <a:spcBef>
                          <a:spcPts val="265"/>
                        </a:spcBef>
                      </a:pPr>
                      <a:r>
                        <a:rPr sz="1500" b="1" spc="-1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What</a:t>
                      </a:r>
                      <a:r>
                        <a:rPr sz="1500" b="1" spc="-65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b="1" spc="-1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matters</a:t>
                      </a:r>
                      <a:endParaRPr sz="1500">
                        <a:latin typeface="Calibri"/>
                        <a:cs typeface="Calibri"/>
                      </a:endParaRPr>
                    </a:p>
                    <a:p>
                      <a:pPr marL="124460">
                        <a:lnSpc>
                          <a:spcPts val="1750"/>
                        </a:lnSpc>
                      </a:pPr>
                      <a:r>
                        <a:rPr sz="1500" spc="-2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Getting</a:t>
                      </a:r>
                      <a:r>
                        <a:rPr sz="1500" spc="-6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to</a:t>
                      </a:r>
                      <a:r>
                        <a:rPr sz="1500" spc="-5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school</a:t>
                      </a:r>
                      <a:r>
                        <a:rPr sz="1500" spc="-4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in</a:t>
                      </a:r>
                      <a:r>
                        <a:rPr sz="1500" spc="-5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the</a:t>
                      </a:r>
                      <a:r>
                        <a:rPr sz="1500" spc="-55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morning</a:t>
                      </a:r>
                      <a:endParaRPr sz="1500">
                        <a:latin typeface="Calibri"/>
                        <a:cs typeface="Calibri"/>
                      </a:endParaRPr>
                    </a:p>
                    <a:p>
                      <a:pPr marL="734060" marR="166370">
                        <a:lnSpc>
                          <a:spcPct val="100000"/>
                        </a:lnSpc>
                      </a:pPr>
                      <a:r>
                        <a:rPr sz="1500" spc="-2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Harder</a:t>
                      </a:r>
                      <a:r>
                        <a:rPr sz="1500" spc="-45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if</a:t>
                      </a:r>
                      <a:r>
                        <a:rPr sz="1500" spc="-35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25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always</a:t>
                      </a:r>
                      <a:r>
                        <a:rPr sz="1500" spc="-4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2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up/down</a:t>
                      </a:r>
                      <a:r>
                        <a:rPr sz="1500" spc="-4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with</a:t>
                      </a:r>
                      <a:r>
                        <a:rPr sz="1500" spc="-45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2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baby </a:t>
                      </a:r>
                      <a:r>
                        <a:rPr sz="1500" spc="-1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overnight</a:t>
                      </a:r>
                      <a:endParaRPr sz="1500">
                        <a:latin typeface="Calibri"/>
                        <a:cs typeface="Calibri"/>
                      </a:endParaRPr>
                    </a:p>
                    <a:p>
                      <a:pPr marL="124460">
                        <a:lnSpc>
                          <a:spcPts val="1680"/>
                        </a:lnSpc>
                      </a:pPr>
                      <a:r>
                        <a:rPr sz="1500" spc="-25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Rewarding/satisfying</a:t>
                      </a:r>
                      <a:r>
                        <a:rPr sz="1500" spc="-45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to</a:t>
                      </a:r>
                      <a:r>
                        <a:rPr sz="1500" spc="-35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2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have</a:t>
                      </a:r>
                      <a:r>
                        <a:rPr sz="1500" spc="-4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baby</a:t>
                      </a:r>
                      <a:r>
                        <a:rPr sz="1500" spc="-35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2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close</a:t>
                      </a:r>
                      <a:endParaRPr sz="1500">
                        <a:latin typeface="Calibri"/>
                        <a:cs typeface="Calibri"/>
                      </a:endParaRPr>
                    </a:p>
                    <a:p>
                      <a:pPr marL="124460">
                        <a:lnSpc>
                          <a:spcPts val="1750"/>
                        </a:lnSpc>
                      </a:pPr>
                      <a:r>
                        <a:rPr sz="1500" spc="-1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Bonding</a:t>
                      </a:r>
                      <a:endParaRPr sz="1500">
                        <a:latin typeface="Calibri"/>
                        <a:cs typeface="Calibri"/>
                      </a:endParaRPr>
                    </a:p>
                    <a:p>
                      <a:pPr marL="124460">
                        <a:lnSpc>
                          <a:spcPts val="1750"/>
                        </a:lnSpc>
                      </a:pPr>
                      <a:r>
                        <a:rPr sz="1500" spc="-25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Better</a:t>
                      </a:r>
                      <a:r>
                        <a:rPr sz="1500" spc="-5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sleep</a:t>
                      </a:r>
                      <a:r>
                        <a:rPr sz="1500" spc="-5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(on</a:t>
                      </a:r>
                      <a:r>
                        <a:rPr sz="1500" spc="-5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0C485D"/>
                          </a:solidFill>
                          <a:latin typeface="Calibri"/>
                          <a:cs typeface="Calibri"/>
                        </a:rPr>
                        <a:t>stomach)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L w="76200">
                      <a:solidFill>
                        <a:srgbClr val="FFFFFF"/>
                      </a:solidFill>
                      <a:prstDash val="solid"/>
                    </a:lnL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D0CE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9895">
                <a:tc>
                  <a:txBody>
                    <a:bodyPr/>
                    <a:lstStyle/>
                    <a:p>
                      <a:pPr marL="123825">
                        <a:lnSpc>
                          <a:spcPts val="1750"/>
                        </a:lnSpc>
                        <a:spcBef>
                          <a:spcPts val="550"/>
                        </a:spcBef>
                      </a:pPr>
                      <a:r>
                        <a:rPr sz="1500" b="1" spc="-1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Education</a:t>
                      </a:r>
                      <a:endParaRPr sz="1500">
                        <a:latin typeface="Calibri"/>
                        <a:cs typeface="Calibri"/>
                      </a:endParaRPr>
                    </a:p>
                    <a:p>
                      <a:pPr marL="123825" marR="628015">
                        <a:lnSpc>
                          <a:spcPts val="1800"/>
                        </a:lnSpc>
                        <a:spcBef>
                          <a:spcPts val="15"/>
                        </a:spcBef>
                      </a:pPr>
                      <a:r>
                        <a:rPr sz="1500" spc="-25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Mothers </a:t>
                      </a:r>
                      <a:r>
                        <a:rPr sz="1500" spc="-2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typically</a:t>
                      </a:r>
                      <a:r>
                        <a:rPr sz="1500" spc="-3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“know”</a:t>
                      </a:r>
                      <a:r>
                        <a:rPr sz="1500" spc="-3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the</a:t>
                      </a:r>
                      <a:r>
                        <a:rPr sz="1500" spc="-35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2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ABCs </a:t>
                      </a:r>
                      <a:r>
                        <a:rPr sz="1500" spc="-3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Fathers/others</a:t>
                      </a:r>
                      <a:r>
                        <a:rPr sz="1500" spc="-35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2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may</a:t>
                      </a:r>
                      <a:r>
                        <a:rPr sz="1500" spc="-4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not</a:t>
                      </a:r>
                      <a:r>
                        <a:rPr sz="1500" spc="-4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be</a:t>
                      </a:r>
                      <a:r>
                        <a:rPr sz="1500" spc="-45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2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present</a:t>
                      </a:r>
                      <a:r>
                        <a:rPr sz="1500" spc="-4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during </a:t>
                      </a:r>
                      <a:r>
                        <a:rPr sz="1500" spc="-2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education</a:t>
                      </a:r>
                      <a:r>
                        <a:rPr sz="1500" spc="-25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in</a:t>
                      </a:r>
                      <a:r>
                        <a:rPr sz="1500" spc="-25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hospital/clinic</a:t>
                      </a:r>
                      <a:endParaRPr sz="1500">
                        <a:latin typeface="Calibri"/>
                        <a:cs typeface="Calibri"/>
                      </a:endParaRPr>
                    </a:p>
                    <a:p>
                      <a:pPr marL="123825">
                        <a:lnSpc>
                          <a:spcPts val="1645"/>
                        </a:lnSpc>
                      </a:pPr>
                      <a:r>
                        <a:rPr sz="150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SIDS</a:t>
                      </a:r>
                      <a:r>
                        <a:rPr sz="1500" spc="-5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is</a:t>
                      </a:r>
                      <a:r>
                        <a:rPr sz="1500" spc="-45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2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something</a:t>
                      </a:r>
                      <a:r>
                        <a:rPr sz="1500" spc="-55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that</a:t>
                      </a:r>
                      <a:r>
                        <a:rPr sz="1500" spc="-45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just</a:t>
                      </a:r>
                      <a:r>
                        <a:rPr sz="1500" spc="-5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happens</a:t>
                      </a:r>
                      <a:r>
                        <a:rPr sz="1500" spc="-45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(cannot</a:t>
                      </a:r>
                      <a:endParaRPr sz="1500">
                        <a:latin typeface="Calibri"/>
                        <a:cs typeface="Calibri"/>
                      </a:endParaRPr>
                    </a:p>
                    <a:p>
                      <a:pPr marL="123825">
                        <a:lnSpc>
                          <a:spcPts val="1750"/>
                        </a:lnSpc>
                      </a:pPr>
                      <a:r>
                        <a:rPr sz="1500" spc="-1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prevent)</a:t>
                      </a:r>
                      <a:endParaRPr sz="1500">
                        <a:latin typeface="Calibri"/>
                        <a:cs typeface="Calibri"/>
                      </a:endParaRPr>
                    </a:p>
                    <a:p>
                      <a:pPr marL="123825">
                        <a:lnSpc>
                          <a:spcPts val="1750"/>
                        </a:lnSpc>
                      </a:pPr>
                      <a:r>
                        <a:rPr sz="1500" spc="-25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Non-</a:t>
                      </a:r>
                      <a:r>
                        <a:rPr sz="1500" spc="-2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urgency</a:t>
                      </a:r>
                      <a:r>
                        <a:rPr sz="1500" spc="-45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of</a:t>
                      </a:r>
                      <a:r>
                        <a:rPr sz="1500" spc="-4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the</a:t>
                      </a:r>
                      <a:r>
                        <a:rPr sz="1500" spc="-45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6B2910"/>
                          </a:solidFill>
                          <a:latin typeface="Calibri"/>
                          <a:cs typeface="Calibri"/>
                        </a:rPr>
                        <a:t>problem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69850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124460">
                        <a:lnSpc>
                          <a:spcPts val="1750"/>
                        </a:lnSpc>
                        <a:spcBef>
                          <a:spcPts val="480"/>
                        </a:spcBef>
                      </a:pPr>
                      <a:r>
                        <a:rPr sz="1500" b="1" spc="-1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Experience/Expectations</a:t>
                      </a:r>
                      <a:endParaRPr sz="1500">
                        <a:latin typeface="Calibri"/>
                        <a:cs typeface="Calibri"/>
                      </a:endParaRPr>
                    </a:p>
                    <a:p>
                      <a:pPr marL="124460" marR="298450">
                        <a:lnSpc>
                          <a:spcPts val="1800"/>
                        </a:lnSpc>
                        <a:spcBef>
                          <a:spcPts val="10"/>
                        </a:spcBef>
                      </a:pPr>
                      <a:r>
                        <a:rPr sz="1500" spc="-1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Nothing</a:t>
                      </a:r>
                      <a:r>
                        <a:rPr sz="1500" spc="-55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2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happened</a:t>
                      </a:r>
                      <a:r>
                        <a:rPr sz="1500" spc="-5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with</a:t>
                      </a:r>
                      <a:r>
                        <a:rPr sz="1500" spc="-5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other</a:t>
                      </a:r>
                      <a:r>
                        <a:rPr sz="1500" spc="-45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babies</a:t>
                      </a:r>
                      <a:r>
                        <a:rPr sz="1500" spc="-5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2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(who </a:t>
                      </a:r>
                      <a:r>
                        <a:rPr sz="1500" spc="-25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were</a:t>
                      </a:r>
                      <a:r>
                        <a:rPr sz="1500" spc="-35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in</a:t>
                      </a:r>
                      <a:r>
                        <a:rPr sz="1500" spc="-3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25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“unsafe”</a:t>
                      </a:r>
                      <a:r>
                        <a:rPr sz="1500" spc="-3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sleep)</a:t>
                      </a:r>
                      <a:endParaRPr sz="1500">
                        <a:latin typeface="Calibri"/>
                        <a:cs typeface="Calibri"/>
                      </a:endParaRPr>
                    </a:p>
                    <a:p>
                      <a:pPr marL="124460" marR="687070">
                        <a:lnSpc>
                          <a:spcPts val="1700"/>
                        </a:lnSpc>
                        <a:spcBef>
                          <a:spcPts val="80"/>
                        </a:spcBef>
                      </a:pPr>
                      <a:r>
                        <a:rPr sz="150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SIDS</a:t>
                      </a:r>
                      <a:r>
                        <a:rPr sz="1500" spc="-45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–</a:t>
                      </a:r>
                      <a:r>
                        <a:rPr sz="1500" spc="-45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is</a:t>
                      </a:r>
                      <a:r>
                        <a:rPr sz="1500" spc="-4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2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something</a:t>
                      </a:r>
                      <a:r>
                        <a:rPr sz="1500" spc="-45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that</a:t>
                      </a:r>
                      <a:r>
                        <a:rPr sz="1500" spc="-45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just</a:t>
                      </a:r>
                      <a:r>
                        <a:rPr sz="1500" spc="-4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happens (cannot</a:t>
                      </a:r>
                      <a:r>
                        <a:rPr sz="1500" spc="-5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prevent)</a:t>
                      </a:r>
                      <a:endParaRPr sz="1500">
                        <a:latin typeface="Calibri"/>
                        <a:cs typeface="Calibri"/>
                      </a:endParaRPr>
                    </a:p>
                    <a:p>
                      <a:pPr marL="124460">
                        <a:lnSpc>
                          <a:spcPts val="1764"/>
                        </a:lnSpc>
                      </a:pPr>
                      <a:r>
                        <a:rPr sz="1500" spc="-25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Non-</a:t>
                      </a:r>
                      <a:r>
                        <a:rPr sz="1500" spc="-2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urgency</a:t>
                      </a:r>
                      <a:r>
                        <a:rPr sz="1500" spc="-45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of</a:t>
                      </a:r>
                      <a:r>
                        <a:rPr sz="1500" spc="-4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the</a:t>
                      </a:r>
                      <a:r>
                        <a:rPr sz="1500" spc="-45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500" spc="-10">
                          <a:solidFill>
                            <a:srgbClr val="10648B"/>
                          </a:solidFill>
                          <a:latin typeface="Calibri"/>
                          <a:cs typeface="Calibri"/>
                        </a:rPr>
                        <a:t>problem</a:t>
                      </a:r>
                      <a:endParaRPr sz="1500">
                        <a:latin typeface="Calibri"/>
                        <a:cs typeface="Calibri"/>
                      </a:endParaRPr>
                    </a:p>
                  </a:txBody>
                  <a:tcPr marL="0" marR="0" marT="60960" marB="0">
                    <a:lnL w="76200">
                      <a:solidFill>
                        <a:srgbClr val="FFFFFF"/>
                      </a:solidFill>
                      <a:prstDash val="solid"/>
                    </a:lnL>
                    <a:lnT w="76200">
                      <a:solidFill>
                        <a:srgbClr val="FFFFFF"/>
                      </a:solidFill>
                      <a:prstDash val="solid"/>
                    </a:lnT>
                    <a:solidFill>
                      <a:srgbClr val="FBE5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object 5"/>
          <p:cNvSpPr txBox="1"/>
          <p:nvPr/>
        </p:nvSpPr>
        <p:spPr>
          <a:xfrm>
            <a:off x="583243" y="2232152"/>
            <a:ext cx="9684385" cy="414703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175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1" i="0" u="none" strike="noStrike" kern="1200" cap="none" spc="-2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hysical</a:t>
            </a:r>
            <a:r>
              <a:rPr kumimoji="0" sz="1500" b="1" i="0" u="none" strike="noStrike" kern="1200" cap="none" spc="-1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1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vironment</a:t>
            </a:r>
            <a:endParaRPr kumimoji="0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0" lvl="0" indent="0" algn="l" defTabSz="914400" rtl="0" eaLnBrk="1" fontAlgn="auto" latinLnBrk="0" hangingPunct="1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ack</a:t>
            </a:r>
            <a:r>
              <a:rPr kumimoji="0" sz="1500" b="0" i="0" u="none" strike="noStrike" kern="1200" cap="none" spc="-5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f</a:t>
            </a:r>
            <a:r>
              <a:rPr kumimoji="0" sz="1500" b="0" i="0" u="none" strike="noStrike" kern="1200" cap="none" spc="-3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pace</a:t>
            </a:r>
            <a:endParaRPr kumimoji="0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62166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n’t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it</a:t>
            </a:r>
            <a:r>
              <a:rPr kumimoji="0" sz="1500" b="0" i="0" u="none" strike="noStrike" kern="1200" cap="none" spc="-4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2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ib</a:t>
            </a:r>
            <a:endParaRPr kumimoji="0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621665" marR="6727190" lvl="0" indent="0" algn="l" defTabSz="914400" rtl="0" eaLnBrk="1" fontAlgn="auto" latinLnBrk="0" hangingPunct="1">
              <a:lnSpc>
                <a:spcPts val="1700"/>
              </a:lnSpc>
              <a:spcBef>
                <a:spcPts val="1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sing</a:t>
            </a:r>
            <a:r>
              <a:rPr kumimoji="0" sz="1500" b="0" i="0" u="none" strike="noStrike" kern="1200" cap="none" spc="-7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ib</a:t>
            </a:r>
            <a:r>
              <a:rPr kumimoji="0" sz="1500" b="0" i="0" u="none" strike="noStrike" kern="1200" cap="none" spc="-6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or</a:t>
            </a:r>
            <a:r>
              <a:rPr kumimoji="0" sz="1500" b="0" i="0" u="none" strike="noStrike" kern="1200" cap="none" spc="-6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torage</a:t>
            </a:r>
            <a:r>
              <a:rPr kumimoji="0" sz="1500" b="0" i="0" u="none" strike="noStrike" kern="1200" cap="none" spc="50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hoosing</a:t>
            </a:r>
            <a:r>
              <a:rPr kumimoji="0" sz="1500" b="0" i="0" u="none" strike="noStrike" kern="1200" cap="none" spc="-6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ib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or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2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ddler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2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leep</a:t>
            </a:r>
            <a:endParaRPr kumimoji="0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0" lvl="0" indent="0" algn="l" defTabSz="914400" rtl="0" eaLnBrk="1" fontAlgn="auto" latinLnBrk="0" hangingPunct="1">
              <a:lnSpc>
                <a:spcPts val="171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haring</a:t>
            </a:r>
            <a:r>
              <a:rPr kumimoji="0" sz="1500" b="0" i="0" u="none" strike="noStrike" kern="1200" cap="none" spc="-7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th</a:t>
            </a:r>
            <a:r>
              <a:rPr kumimoji="0" sz="1500" b="0" i="0" u="none" strike="noStrike" kern="1200" cap="none" spc="-6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ther</a:t>
            </a:r>
            <a:r>
              <a:rPr kumimoji="0" sz="1500" b="0" i="0" u="none" strike="noStrike" kern="1200" cap="none" spc="-6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amilies</a:t>
            </a:r>
            <a:endParaRPr kumimoji="0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6823075" lvl="0" indent="609600" algn="l" defTabSz="914400" rtl="0" eaLnBrk="1" fontAlgn="auto" latinLnBrk="0" hangingPunct="1">
              <a:lnSpc>
                <a:spcPts val="1800"/>
              </a:lnSpc>
              <a:spcBef>
                <a:spcPts val="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0" i="0" u="none" strike="noStrike" kern="1200" cap="none" spc="-2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aving</a:t>
            </a:r>
            <a:r>
              <a:rPr kumimoji="0" sz="1500" b="0" i="0" u="none" strike="noStrike" kern="1200" cap="none" spc="-4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</a:t>
            </a:r>
            <a:r>
              <a:rPr kumimoji="0" sz="1500" b="0" i="0" u="none" strike="noStrike" kern="1200" cap="none" spc="-4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ive</a:t>
            </a:r>
            <a:r>
              <a:rPr kumimoji="0" sz="1500" b="0" i="0" u="none" strike="noStrike" kern="1200" cap="none" spc="-4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y</a:t>
            </a:r>
            <a:r>
              <a:rPr kumimoji="0" sz="1500" b="0" i="0" u="none" strike="noStrike" kern="1200" cap="none" spc="-4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2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thers’</a:t>
            </a:r>
            <a:r>
              <a:rPr kumimoji="0" sz="1500" b="0" i="0" u="none" strike="noStrike" kern="1200" cap="none" spc="-3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2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ules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ack</a:t>
            </a:r>
            <a:r>
              <a:rPr kumimoji="0" sz="1500" b="0" i="0" u="none" strike="noStrike" kern="1200" cap="none" spc="-5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f</a:t>
            </a:r>
            <a:r>
              <a:rPr kumimoji="0" sz="1500" b="0" i="0" u="none" strike="noStrike" kern="1200" cap="none" spc="-3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2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eat</a:t>
            </a:r>
            <a:endParaRPr kumimoji="0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6751955" lvl="0" indent="609600" algn="l" defTabSz="914400" rtl="0" eaLnBrk="1" fontAlgn="auto" latinLnBrk="0" hangingPunct="1">
              <a:lnSpc>
                <a:spcPts val="168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0" i="0" u="none" strike="noStrike" kern="1200" cap="none" spc="-2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Keep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aby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ose</a:t>
            </a:r>
            <a:r>
              <a:rPr kumimoji="0" sz="1500" b="0" i="0" u="none" strike="noStrike" kern="1200" cap="none" spc="-5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3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keep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2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arm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ugs/Rodents</a:t>
            </a:r>
            <a:endParaRPr kumimoji="0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6374130" lvl="0" indent="609600" algn="l" defTabSz="914400" rtl="0" eaLnBrk="1" fontAlgn="auto" latinLnBrk="0" hangingPunct="1">
              <a:lnSpc>
                <a:spcPts val="17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0" i="0" u="none" strike="noStrike" kern="1200" cap="none" spc="-2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Keep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aby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ose</a:t>
            </a:r>
            <a:r>
              <a:rPr kumimoji="0" sz="1500" b="0" i="0" u="none" strike="noStrike" kern="1200" cap="none" spc="-5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o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3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keep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2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afe Staying</a:t>
            </a:r>
            <a:r>
              <a:rPr kumimoji="0" sz="1500" b="0" i="0" u="none" strike="noStrike" kern="1200" cap="none" spc="-4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th</a:t>
            </a:r>
            <a:r>
              <a:rPr kumimoji="0" sz="1500" b="0" i="0" u="none" strike="noStrike" kern="1200" cap="none" spc="-3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2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thers/Change</a:t>
            </a:r>
            <a:r>
              <a:rPr kumimoji="0" sz="1500" b="0" i="0" u="none" strike="noStrike" kern="1200" cap="none" spc="-3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</a:t>
            </a:r>
            <a:r>
              <a:rPr kumimoji="0" sz="1500" b="0" i="0" u="none" strike="noStrike" kern="1200" cap="none" spc="-3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vironment</a:t>
            </a:r>
            <a:endParaRPr kumimoji="0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621665" marR="6206490" lvl="0" indent="0" algn="just" defTabSz="914400" rtl="0" eaLnBrk="1" fontAlgn="auto" latinLnBrk="0" hangingPunct="1">
              <a:lnSpc>
                <a:spcPct val="97300"/>
              </a:lnSpc>
              <a:spcBef>
                <a:spcPts val="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o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2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rrangements</a:t>
            </a:r>
            <a:r>
              <a:rPr kumimoji="0" sz="1500" b="0" i="0" u="none" strike="noStrike" kern="1200" cap="none" spc="-4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de</a:t>
            </a:r>
            <a:r>
              <a:rPr kumimoji="0" sz="1500" b="0" i="0" u="none" strike="noStrike" kern="1200" cap="none" spc="-5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or</a:t>
            </a:r>
            <a:r>
              <a:rPr kumimoji="0" sz="1500" b="0" i="0" u="none" strike="noStrike" kern="1200" cap="none" spc="-4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2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afe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2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leep </a:t>
            </a:r>
            <a:r>
              <a:rPr kumimoji="0" sz="1500" b="0" i="0" u="none" strike="noStrike" kern="1200" cap="none" spc="-2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athers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2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y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ot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2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ave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ibs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th</a:t>
            </a:r>
            <a:r>
              <a:rPr kumimoji="0" sz="1500" b="0" i="0" u="none" strike="noStrike" kern="1200" cap="none" spc="-5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2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em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hen</a:t>
            </a:r>
            <a:r>
              <a:rPr kumimoji="0" sz="1500" b="0" i="0" u="none" strike="noStrike" kern="1200" cap="none" spc="-7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aby</a:t>
            </a:r>
            <a:r>
              <a:rPr kumimoji="0" sz="1500" b="0" i="0" u="none" strike="noStrike" kern="1200" cap="none" spc="-7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25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tays</a:t>
            </a:r>
            <a:r>
              <a:rPr kumimoji="0" sz="1500" b="0" i="0" u="none" strike="noStrike" kern="1200" cap="none" spc="-6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500" b="0" i="0" u="none" strike="noStrike" kern="1200" cap="none" spc="-10" normalizeH="0" baseline="0" noProof="0" dirty="0">
                <a:ln>
                  <a:noFill/>
                </a:ln>
                <a:solidFill>
                  <a:srgbClr val="57631B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vernight</a:t>
            </a:r>
            <a:endParaRPr kumimoji="0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588135" marR="5080" lvl="0" indent="296545" algn="l" defTabSz="914400" rtl="0" eaLnBrk="1" fontAlgn="auto" latinLnBrk="0" hangingPunct="1">
              <a:lnSpc>
                <a:spcPts val="19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e</a:t>
            </a:r>
            <a:r>
              <a:rPr kumimoji="0" sz="1600" b="0" i="1" u="none" strike="noStrike" kern="1200" cap="none" spc="-45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hare</a:t>
            </a:r>
            <a:r>
              <a:rPr kumimoji="0" sz="1600" b="0" i="1" u="none" strike="noStrike" kern="1200" cap="none" spc="-35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ur</a:t>
            </a:r>
            <a:r>
              <a:rPr kumimoji="0" sz="1600" b="0" i="1" u="none" strike="noStrike" kern="1200" cap="none" spc="-35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1" u="none" strike="noStrike" kern="1200" cap="none" spc="-1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xperiences</a:t>
            </a:r>
            <a:r>
              <a:rPr kumimoji="0" sz="1600" b="0" i="1" u="none" strike="noStrike" kern="1200" cap="none" spc="-35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th</a:t>
            </a:r>
            <a:r>
              <a:rPr kumimoji="0" sz="1600" b="0" i="1" u="none" strike="noStrike" kern="1200" cap="none" spc="-35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amilies</a:t>
            </a:r>
            <a:r>
              <a:rPr kumimoji="0" sz="1600" b="0" i="1" u="none" strike="noStrike" kern="1200" cap="none" spc="-35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at</a:t>
            </a:r>
            <a:r>
              <a:rPr kumimoji="0" sz="1600" b="0" i="1" u="none" strike="noStrike" kern="1200" cap="none" spc="-35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form</a:t>
            </a:r>
            <a:r>
              <a:rPr kumimoji="0" sz="1600" b="0" i="1" u="none" strike="noStrike" kern="1200" cap="none" spc="-4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ur</a:t>
            </a:r>
            <a:r>
              <a:rPr kumimoji="0" sz="1600" b="0" i="1" u="none" strike="noStrike" kern="1200" cap="none" spc="-35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ens</a:t>
            </a:r>
            <a:r>
              <a:rPr kumimoji="0" sz="1600" b="0" i="1" u="none" strike="noStrike" kern="1200" cap="none" spc="-4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hen</a:t>
            </a:r>
            <a:r>
              <a:rPr kumimoji="0" sz="1600" b="0" i="1" u="none" strike="noStrike" kern="1200" cap="none" spc="-35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olding</a:t>
            </a:r>
            <a:r>
              <a:rPr kumimoji="0" sz="1600" b="0" i="1" u="none" strike="noStrike" kern="1200" cap="none" spc="-35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1" u="none" strike="noStrike" kern="1200" cap="none" spc="-1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nversations </a:t>
            </a:r>
            <a:r>
              <a:rPr kumimoji="0" sz="16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bout</a:t>
            </a:r>
            <a:r>
              <a:rPr kumimoji="0" sz="1600" b="0" i="1" u="none" strike="noStrike" kern="1200" cap="none" spc="-45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UID</a:t>
            </a:r>
            <a:r>
              <a:rPr kumimoji="0" sz="1600" b="0" i="1" u="none" strike="noStrike" kern="1200" cap="none" spc="-45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600" b="0" i="1" u="none" strike="noStrike" kern="1200" cap="none" spc="-4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afe</a:t>
            </a:r>
            <a:r>
              <a:rPr kumimoji="0" sz="1600" b="0" i="1" u="none" strike="noStrike" kern="1200" cap="none" spc="-5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leep</a:t>
            </a:r>
            <a:r>
              <a:rPr kumimoji="0" sz="1600" b="0" i="1" u="none" strike="noStrike" kern="1200" cap="none" spc="-4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with</a:t>
            </a:r>
            <a:r>
              <a:rPr kumimoji="0" sz="1600" b="0" i="1" u="none" strike="noStrike" kern="1200" cap="none" spc="-45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0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arents.</a:t>
            </a:r>
            <a:r>
              <a:rPr kumimoji="0" sz="1600" b="0" i="1" u="none" strike="noStrike" kern="1200" cap="none" spc="-45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istening</a:t>
            </a:r>
            <a:r>
              <a:rPr kumimoji="0" sz="1600" b="1" i="1" u="none" strike="noStrike" kern="1200" cap="none" spc="-35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</a:t>
            </a:r>
            <a:r>
              <a:rPr kumimoji="0" sz="1600" b="1" i="1" u="none" strike="noStrike" kern="1200" cap="none" spc="-4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etting</a:t>
            </a:r>
            <a:r>
              <a:rPr kumimoji="0" sz="1600" b="1" i="1" u="none" strike="noStrike" kern="1200" cap="none" spc="-4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amilies</a:t>
            </a:r>
            <a:r>
              <a:rPr kumimoji="0" sz="1600" b="1" i="1" u="none" strike="noStrike" kern="1200" cap="none" spc="-45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ead</a:t>
            </a:r>
            <a:r>
              <a:rPr kumimoji="0" sz="1600" b="1" i="1" u="none" strike="noStrike" kern="1200" cap="none" spc="-4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enters</a:t>
            </a:r>
            <a:r>
              <a:rPr kumimoji="0" sz="1600" b="1" i="1" u="none" strike="noStrike" kern="1200" cap="none" spc="-5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1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ur</a:t>
            </a:r>
            <a:r>
              <a:rPr kumimoji="0" sz="1600" b="1" i="1" u="none" strike="noStrike" kern="1200" cap="none" spc="-4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600" b="1" i="1" u="none" strike="noStrike" kern="1200" cap="none" spc="-1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pproach.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0ADFFC45-3DC9-4433-926F-043E879D9D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5F26A87-0610-435F-AA13-BD658385C9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267230" y="-8468"/>
            <a:ext cx="4763558" cy="6866467"/>
            <a:chOff x="67175" y="-8467"/>
            <a:chExt cx="4763558" cy="6866467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E6321436-5AAD-4FB6-BB0D-316D4540E82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1448300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4B0BD33-3D46-4F43-947A-825DFEF6106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67175" y="3681413"/>
              <a:ext cx="4763558" cy="3176587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  <a:alpha val="8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23">
              <a:extLst>
                <a:ext uri="{FF2B5EF4-FFF2-40B4-BE49-F238E27FC236}">
                  <a16:creationId xmlns:a16="http://schemas.microsoft.com/office/drawing/2014/main" id="{92E26C27-E1F5-47DC-9F83-469D196C55D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258764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4" name="Rectangle 25">
              <a:extLst>
                <a:ext uri="{FF2B5EF4-FFF2-40B4-BE49-F238E27FC236}">
                  <a16:creationId xmlns:a16="http://schemas.microsoft.com/office/drawing/2014/main" id="{95F944E7-2B4E-4AE2-B4DB-846FF8AE0B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680730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FF14952D-390F-46CC-B302-73DDD9C4160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09621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6" name="Rectangle 27">
              <a:extLst>
                <a:ext uri="{FF2B5EF4-FFF2-40B4-BE49-F238E27FC236}">
                  <a16:creationId xmlns:a16="http://schemas.microsoft.com/office/drawing/2014/main" id="{867CDE55-B22A-40D0-882A-9452919EEC2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411788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8C409231-C942-4808-B529-DAC32A7DB00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448954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B61B501-B54A-4A9D-8574-FF27AC212C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7335" y="1282701"/>
            <a:ext cx="5096060" cy="4307148"/>
          </a:xfrm>
        </p:spPr>
        <p:txBody>
          <a:bodyPr anchor="ctr">
            <a:normAutofit/>
          </a:bodyPr>
          <a:lstStyle/>
          <a:p>
            <a:pPr algn="ctr"/>
            <a:r>
              <a:rPr lang="en-US" b="1" dirty="0">
                <a:solidFill>
                  <a:schemeClr val="accent2">
                    <a:lumMod val="50000"/>
                  </a:schemeClr>
                </a:solidFill>
              </a:rPr>
              <a:t>Cook County SUID Case Registry Workflow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69370F01-B8C9-4CE4-824C-92B2792E6E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136497" y="-8468"/>
            <a:ext cx="5074930" cy="6866468"/>
          </a:xfrm>
          <a:custGeom>
            <a:avLst/>
            <a:gdLst>
              <a:gd name="connsiteX0" fmla="*/ 0 w 5074930"/>
              <a:gd name="connsiteY0" fmla="*/ 0 h 6858000"/>
              <a:gd name="connsiteX1" fmla="*/ 1249825 w 5074930"/>
              <a:gd name="connsiteY1" fmla="*/ 0 h 6858000"/>
              <a:gd name="connsiteX2" fmla="*/ 1249825 w 5074930"/>
              <a:gd name="connsiteY2" fmla="*/ 8457 h 6858000"/>
              <a:gd name="connsiteX3" fmla="*/ 5074930 w 5074930"/>
              <a:gd name="connsiteY3" fmla="*/ 8457 h 6858000"/>
              <a:gd name="connsiteX4" fmla="*/ 5074930 w 5074930"/>
              <a:gd name="connsiteY4" fmla="*/ 6858000 h 6858000"/>
              <a:gd name="connsiteX5" fmla="*/ 1249825 w 5074930"/>
              <a:gd name="connsiteY5" fmla="*/ 6858000 h 6858000"/>
              <a:gd name="connsiteX6" fmla="*/ 1109383 w 507493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4930" h="6858000">
                <a:moveTo>
                  <a:pt x="0" y="0"/>
                </a:moveTo>
                <a:lnTo>
                  <a:pt x="1249825" y="0"/>
                </a:lnTo>
                <a:lnTo>
                  <a:pt x="1249825" y="8457"/>
                </a:lnTo>
                <a:lnTo>
                  <a:pt x="5074930" y="8457"/>
                </a:lnTo>
                <a:lnTo>
                  <a:pt x="5074930" y="6858000"/>
                </a:lnTo>
                <a:lnTo>
                  <a:pt x="1249825" y="6858000"/>
                </a:lnTo>
                <a:lnTo>
                  <a:pt x="1109383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DA98A4-05F5-4212-A2C6-12205304D7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21120" y="2510119"/>
            <a:ext cx="3602567" cy="1829292"/>
          </a:xfrm>
        </p:spPr>
        <p:txBody>
          <a:bodyPr anchor="ctr">
            <a:normAutofit/>
          </a:bodyPr>
          <a:lstStyle/>
          <a:p>
            <a:pPr algn="l"/>
            <a:r>
              <a:rPr lang="en-US" dirty="0">
                <a:solidFill>
                  <a:srgbClr val="FFFFFF"/>
                </a:solidFill>
              </a:rPr>
              <a:t>Data From CCMEO to CDC</a:t>
            </a:r>
          </a:p>
          <a:p>
            <a:pPr algn="l"/>
            <a:endParaRPr lang="en-US" dirty="0">
              <a:solidFill>
                <a:srgbClr val="FFFFFF"/>
              </a:solidFill>
            </a:endParaRPr>
          </a:p>
          <a:p>
            <a:pPr algn="l"/>
            <a:r>
              <a:rPr lang="en-US" dirty="0" err="1">
                <a:solidFill>
                  <a:srgbClr val="FFFFFF"/>
                </a:solidFill>
              </a:rPr>
              <a:t>Rojin</a:t>
            </a:r>
            <a:r>
              <a:rPr lang="en-US" dirty="0">
                <a:solidFill>
                  <a:srgbClr val="FFFFFF"/>
                </a:solidFill>
              </a:rPr>
              <a:t> </a:t>
            </a:r>
            <a:r>
              <a:rPr lang="en-US" dirty="0" err="1">
                <a:solidFill>
                  <a:srgbClr val="FFFFFF"/>
                </a:solidFill>
              </a:rPr>
              <a:t>Ahadi</a:t>
            </a:r>
            <a:r>
              <a:rPr lang="en-US" dirty="0">
                <a:solidFill>
                  <a:srgbClr val="FFFFFF"/>
                </a:solidFill>
              </a:rPr>
              <a:t> MPH</a:t>
            </a:r>
          </a:p>
          <a:p>
            <a:pPr algn="l"/>
            <a:r>
              <a:rPr lang="en-US" dirty="0">
                <a:solidFill>
                  <a:srgbClr val="FFFFFF"/>
                </a:solidFill>
              </a:rPr>
              <a:t>Data coordinator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9ABEF90-4CAD-6B4C-84A6-38612240558D}"/>
              </a:ext>
            </a:extLst>
          </p:cNvPr>
          <p:cNvSpPr txBox="1"/>
          <p:nvPr/>
        </p:nvSpPr>
        <p:spPr>
          <a:xfrm>
            <a:off x="7335020" y="6304002"/>
            <a:ext cx="4677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accent2">
                    <a:lumMod val="50000"/>
                  </a:schemeClr>
                </a:solidFill>
              </a:rPr>
              <a:t>Seeing the process builds trust in the data.</a:t>
            </a:r>
          </a:p>
        </p:txBody>
      </p:sp>
    </p:spTree>
    <p:extLst>
      <p:ext uri="{BB962C8B-B14F-4D97-AF65-F5344CB8AC3E}">
        <p14:creationId xmlns:p14="http://schemas.microsoft.com/office/powerpoint/2010/main" val="30320835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943919" y="6421628"/>
            <a:ext cx="23044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SUID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ok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unty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Report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 spc="-10">
                <a:solidFill>
                  <a:srgbClr val="898989"/>
                </a:solidFill>
                <a:latin typeface="Calibri"/>
                <a:cs typeface="Calibri"/>
              </a:rPr>
              <a:t>2019-</a:t>
            </a:r>
            <a:r>
              <a:rPr sz="1200" spc="-20">
                <a:solidFill>
                  <a:srgbClr val="898989"/>
                </a:solidFill>
                <a:latin typeface="Calibri"/>
                <a:cs typeface="Calibri"/>
              </a:rPr>
              <a:t>2022</a:t>
            </a:r>
            <a:endParaRPr sz="1200">
              <a:latin typeface="Calibri"/>
              <a:cs typeface="Calibri"/>
            </a:endParaRP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51800" y="3055717"/>
            <a:ext cx="6990175" cy="955603"/>
          </a:xfrm>
          <a:prstGeom prst="rect">
            <a:avLst/>
          </a:prstGeom>
        </p:spPr>
      </p:pic>
      <p:sp>
        <p:nvSpPr>
          <p:cNvPr id="4" name="object 4"/>
          <p:cNvSpPr/>
          <p:nvPr/>
        </p:nvSpPr>
        <p:spPr>
          <a:xfrm>
            <a:off x="0" y="6641629"/>
            <a:ext cx="12188825" cy="216535"/>
          </a:xfrm>
          <a:custGeom>
            <a:avLst/>
            <a:gdLst/>
            <a:ahLst/>
            <a:cxnLst/>
            <a:rect l="l" t="t" r="r" b="b"/>
            <a:pathLst>
              <a:path w="12188825" h="216534">
                <a:moveTo>
                  <a:pt x="12188825" y="0"/>
                </a:moveTo>
                <a:lnTo>
                  <a:pt x="0" y="0"/>
                </a:lnTo>
                <a:lnTo>
                  <a:pt x="0" y="216369"/>
                </a:lnTo>
                <a:lnTo>
                  <a:pt x="12188825" y="216369"/>
                </a:lnTo>
                <a:lnTo>
                  <a:pt x="12188825" y="0"/>
                </a:lnTo>
                <a:close/>
              </a:path>
            </a:pathLst>
          </a:custGeom>
          <a:solidFill>
            <a:srgbClr val="00B58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0D12792B-E21C-5242-B887-A0A4A828CF92}"/>
              </a:ext>
            </a:extLst>
          </p:cNvPr>
          <p:cNvSpPr txBox="1"/>
          <p:nvPr/>
        </p:nvSpPr>
        <p:spPr>
          <a:xfrm>
            <a:off x="2328333" y="2090172"/>
            <a:ext cx="7535333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he content of today’s meeting regarding infant deaths can be difficult.  The pictures on the next slide are </a:t>
            </a:r>
            <a:r>
              <a:rPr kumimoji="0" lang="en-US" sz="2400" b="0" i="0" u="sng" strike="noStrike" kern="1200" cap="none" spc="0" normalizeH="0" baseline="0" noProof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oll scene reenactments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with families who have lost their infants to SUID and may evoke strong feelings or other distres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B383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lease prioritize your own wellbeing, even if you need to step away from the meeting. 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43344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ular Callout 3">
            <a:extLst>
              <a:ext uri="{FF2B5EF4-FFF2-40B4-BE49-F238E27FC236}">
                <a16:creationId xmlns:a16="http://schemas.microsoft.com/office/drawing/2014/main" id="{2FEAC7E7-C4D5-DF44-9EF5-3ED75643530C}"/>
              </a:ext>
            </a:extLst>
          </p:cNvPr>
          <p:cNvSpPr/>
          <p:nvPr/>
        </p:nvSpPr>
        <p:spPr>
          <a:xfrm>
            <a:off x="3271497" y="349110"/>
            <a:ext cx="2824503" cy="1222887"/>
          </a:xfrm>
          <a:prstGeom prst="wedgeRoundRectCallou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 realize how much larger the conversation needs to be. We have to get way beyond the ABC’s.</a:t>
            </a:r>
          </a:p>
        </p:txBody>
      </p:sp>
      <p:sp>
        <p:nvSpPr>
          <p:cNvPr id="5" name="Rounded Rectangular Callout 4">
            <a:extLst>
              <a:ext uri="{FF2B5EF4-FFF2-40B4-BE49-F238E27FC236}">
                <a16:creationId xmlns:a16="http://schemas.microsoft.com/office/drawing/2014/main" id="{652E0ADE-CCA4-D54E-B61F-419C1EFCE8AC}"/>
              </a:ext>
            </a:extLst>
          </p:cNvPr>
          <p:cNvSpPr/>
          <p:nvPr/>
        </p:nvSpPr>
        <p:spPr>
          <a:xfrm>
            <a:off x="3271497" y="1949146"/>
            <a:ext cx="2824503" cy="1221491"/>
          </a:xfrm>
          <a:prstGeom prst="wedgeRoundRectCallou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 one brought this information back to us until now. </a:t>
            </a:r>
            <a:endParaRPr kumimoji="0" lang="en-US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 think it would hit home if we could share this information.</a:t>
            </a:r>
          </a:p>
        </p:txBody>
      </p:sp>
      <p:sp>
        <p:nvSpPr>
          <p:cNvPr id="6" name="Rounded Rectangular Callout 5">
            <a:extLst>
              <a:ext uri="{FF2B5EF4-FFF2-40B4-BE49-F238E27FC236}">
                <a16:creationId xmlns:a16="http://schemas.microsoft.com/office/drawing/2014/main" id="{2651181F-4398-3A41-8C58-AB8501EC809D}"/>
              </a:ext>
            </a:extLst>
          </p:cNvPr>
          <p:cNvSpPr/>
          <p:nvPr/>
        </p:nvSpPr>
        <p:spPr>
          <a:xfrm>
            <a:off x="311153" y="1942952"/>
            <a:ext cx="2824502" cy="1207474"/>
          </a:xfrm>
          <a:prstGeom prst="wedgeRoundRectCallou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e notice families are not sleeping safely, but that’s because we are not modeling it!</a:t>
            </a:r>
          </a:p>
        </p:txBody>
      </p:sp>
      <p:sp>
        <p:nvSpPr>
          <p:cNvPr id="7" name="Rounded Rectangular Callout 6">
            <a:extLst>
              <a:ext uri="{FF2B5EF4-FFF2-40B4-BE49-F238E27FC236}">
                <a16:creationId xmlns:a16="http://schemas.microsoft.com/office/drawing/2014/main" id="{3C5BE5A4-AFA7-1D40-845A-7B6AB4EB6D7A}"/>
              </a:ext>
            </a:extLst>
          </p:cNvPr>
          <p:cNvSpPr/>
          <p:nvPr/>
        </p:nvSpPr>
        <p:spPr>
          <a:xfrm>
            <a:off x="6320493" y="3418368"/>
            <a:ext cx="2824501" cy="1234055"/>
          </a:xfrm>
          <a:prstGeom prst="wedgeRoundRectCallou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 hope ESSI brings normalcy [to infant safe sleep]. It has to reach beyond the postpartum unit, to OB and other doctors in the hospital. It’s going to take a village.</a:t>
            </a:r>
          </a:p>
        </p:txBody>
      </p:sp>
      <p:sp>
        <p:nvSpPr>
          <p:cNvPr id="8" name="Rounded Rectangular Callout 7">
            <a:extLst>
              <a:ext uri="{FF2B5EF4-FFF2-40B4-BE49-F238E27FC236}">
                <a16:creationId xmlns:a16="http://schemas.microsoft.com/office/drawing/2014/main" id="{C0662568-A002-7046-A6B6-8F0CCE1565AD}"/>
              </a:ext>
            </a:extLst>
          </p:cNvPr>
          <p:cNvSpPr/>
          <p:nvPr/>
        </p:nvSpPr>
        <p:spPr>
          <a:xfrm>
            <a:off x="311153" y="3429000"/>
            <a:ext cx="2824502" cy="1223424"/>
          </a:xfrm>
          <a:prstGeom prst="wedgeRoundRectCallou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is was really eye opening. Hearing the cases puts the whole thing in perspective. It brings [SUID] from back of mind to top of mind. That’s what needs to happen with providers.</a:t>
            </a:r>
          </a:p>
        </p:txBody>
      </p:sp>
      <p:sp>
        <p:nvSpPr>
          <p:cNvPr id="9" name="Rounded Rectangular Callout 8">
            <a:extLst>
              <a:ext uri="{FF2B5EF4-FFF2-40B4-BE49-F238E27FC236}">
                <a16:creationId xmlns:a16="http://schemas.microsoft.com/office/drawing/2014/main" id="{E04C5A87-F751-A148-AB9E-C8796650534E}"/>
              </a:ext>
            </a:extLst>
          </p:cNvPr>
          <p:cNvSpPr/>
          <p:nvPr/>
        </p:nvSpPr>
        <p:spPr>
          <a:xfrm>
            <a:off x="316830" y="334948"/>
            <a:ext cx="2824502" cy="1230855"/>
          </a:xfrm>
          <a:prstGeom prst="wedgeRoundRectCallou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education we are giving is not even the tip of the iceberg of what we should be teaching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9DD28E-F030-7440-A75F-1DC93E8CAD04}"/>
              </a:ext>
            </a:extLst>
          </p:cNvPr>
          <p:cNvSpPr/>
          <p:nvPr/>
        </p:nvSpPr>
        <p:spPr>
          <a:xfrm>
            <a:off x="9422326" y="5888912"/>
            <a:ext cx="2517808" cy="70944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spital stakeholders’ reflections on hearing their hospital-specific SUID Data</a:t>
            </a:r>
          </a:p>
        </p:txBody>
      </p:sp>
      <p:sp>
        <p:nvSpPr>
          <p:cNvPr id="11" name="Rounded Rectangular Callout 10">
            <a:extLst>
              <a:ext uri="{FF2B5EF4-FFF2-40B4-BE49-F238E27FC236}">
                <a16:creationId xmlns:a16="http://schemas.microsoft.com/office/drawing/2014/main" id="{9003EC37-3592-E447-AE67-AEDFBAF9C349}"/>
              </a:ext>
            </a:extLst>
          </p:cNvPr>
          <p:cNvSpPr/>
          <p:nvPr/>
        </p:nvSpPr>
        <p:spPr>
          <a:xfrm>
            <a:off x="311153" y="5027638"/>
            <a:ext cx="2824502" cy="1215995"/>
          </a:xfrm>
          <a:prstGeom prst="wedgeRoundRectCallou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his has gotten out in front of us, so it needs to be all hands on deck.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ounded Rectangular Callout 16">
            <a:extLst>
              <a:ext uri="{FF2B5EF4-FFF2-40B4-BE49-F238E27FC236}">
                <a16:creationId xmlns:a16="http://schemas.microsoft.com/office/drawing/2014/main" id="{F3647731-A175-D245-99E8-363CAA186DCE}"/>
              </a:ext>
            </a:extLst>
          </p:cNvPr>
          <p:cNvSpPr/>
          <p:nvPr/>
        </p:nvSpPr>
        <p:spPr>
          <a:xfrm>
            <a:off x="6320494" y="1924030"/>
            <a:ext cx="2824503" cy="1215995"/>
          </a:xfrm>
          <a:prstGeom prst="wedgeRoundRectCallou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t is a lot of information, and helpful. It makes me think differently. Some families don’t sleep in the same place all of the time.</a:t>
            </a:r>
          </a:p>
        </p:txBody>
      </p:sp>
      <p:sp>
        <p:nvSpPr>
          <p:cNvPr id="18" name="Rounded Rectangular Callout 17">
            <a:extLst>
              <a:ext uri="{FF2B5EF4-FFF2-40B4-BE49-F238E27FC236}">
                <a16:creationId xmlns:a16="http://schemas.microsoft.com/office/drawing/2014/main" id="{5DDE3C42-42B1-3245-B2CE-EF2899B4297E}"/>
              </a:ext>
            </a:extLst>
          </p:cNvPr>
          <p:cNvSpPr/>
          <p:nvPr/>
        </p:nvSpPr>
        <p:spPr>
          <a:xfrm>
            <a:off x="3271496" y="3428999"/>
            <a:ext cx="2824501" cy="1215995"/>
          </a:xfrm>
          <a:prstGeom prst="wedgeRoundRectCallou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earing the cases makes a big difference – it really hits home.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ounded Rectangular Callout 18">
            <a:extLst>
              <a:ext uri="{FF2B5EF4-FFF2-40B4-BE49-F238E27FC236}">
                <a16:creationId xmlns:a16="http://schemas.microsoft.com/office/drawing/2014/main" id="{8543F120-46A2-4E4D-98D1-7F5F058AE1E5}"/>
              </a:ext>
            </a:extLst>
          </p:cNvPr>
          <p:cNvSpPr/>
          <p:nvPr/>
        </p:nvSpPr>
        <p:spPr>
          <a:xfrm>
            <a:off x="6320494" y="350889"/>
            <a:ext cx="2824504" cy="1219327"/>
          </a:xfrm>
          <a:prstGeom prst="wedgeRoundRectCallou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e didn’t know about these numbers until these presentations – we know about it but don’t always hear about it.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ounded Rectangular Callout 13">
            <a:extLst>
              <a:ext uri="{FF2B5EF4-FFF2-40B4-BE49-F238E27FC236}">
                <a16:creationId xmlns:a16="http://schemas.microsoft.com/office/drawing/2014/main" id="{8EFB1A23-C00E-AB49-BBF7-51116F2465F2}"/>
              </a:ext>
            </a:extLst>
          </p:cNvPr>
          <p:cNvSpPr/>
          <p:nvPr/>
        </p:nvSpPr>
        <p:spPr>
          <a:xfrm>
            <a:off x="3280165" y="5018789"/>
            <a:ext cx="5864829" cy="1215995"/>
          </a:xfrm>
          <a:prstGeom prst="wedgeRoundRectCallou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ery name I looked at… I kept thinking, do I remember them. Is there something else we could have talked about, something else we could have done…</a:t>
            </a:r>
          </a:p>
        </p:txBody>
      </p:sp>
      <p:sp>
        <p:nvSpPr>
          <p:cNvPr id="15" name="Rounded Rectangular Callout 14">
            <a:extLst>
              <a:ext uri="{FF2B5EF4-FFF2-40B4-BE49-F238E27FC236}">
                <a16:creationId xmlns:a16="http://schemas.microsoft.com/office/drawing/2014/main" id="{56A6A503-A8B7-B545-8923-9AA216E5D9F7}"/>
              </a:ext>
            </a:extLst>
          </p:cNvPr>
          <p:cNvSpPr/>
          <p:nvPr/>
        </p:nvSpPr>
        <p:spPr>
          <a:xfrm>
            <a:off x="9357363" y="324547"/>
            <a:ext cx="2517808" cy="1215995"/>
          </a:xfrm>
          <a:prstGeom prst="wedgeRoundRectCallou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 can’t get that out of my head now, because that’s on us.</a:t>
            </a:r>
          </a:p>
        </p:txBody>
      </p:sp>
      <p:sp>
        <p:nvSpPr>
          <p:cNvPr id="16" name="Rounded Rectangular Callout 15">
            <a:extLst>
              <a:ext uri="{FF2B5EF4-FFF2-40B4-BE49-F238E27FC236}">
                <a16:creationId xmlns:a16="http://schemas.microsoft.com/office/drawing/2014/main" id="{D13EFEA3-1D68-904A-9D05-25BABBEA7A5E}"/>
              </a:ext>
            </a:extLst>
          </p:cNvPr>
          <p:cNvSpPr/>
          <p:nvPr/>
        </p:nvSpPr>
        <p:spPr>
          <a:xfrm>
            <a:off x="9353027" y="1914299"/>
            <a:ext cx="2587107" cy="1215995"/>
          </a:xfrm>
          <a:prstGeom prst="wedgeRoundRectCallou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 knew that we had some, but that is a lot.</a:t>
            </a:r>
          </a:p>
        </p:txBody>
      </p:sp>
      <p:sp>
        <p:nvSpPr>
          <p:cNvPr id="20" name="Rounded Rectangular Callout 19">
            <a:extLst>
              <a:ext uri="{FF2B5EF4-FFF2-40B4-BE49-F238E27FC236}">
                <a16:creationId xmlns:a16="http://schemas.microsoft.com/office/drawing/2014/main" id="{243D9D97-8353-DA4D-AC49-8E67DAEB5743}"/>
              </a:ext>
            </a:extLst>
          </p:cNvPr>
          <p:cNvSpPr/>
          <p:nvPr/>
        </p:nvSpPr>
        <p:spPr>
          <a:xfrm>
            <a:off x="9353027" y="3398327"/>
            <a:ext cx="2587107" cy="1215995"/>
          </a:xfrm>
          <a:prstGeom prst="wedgeRoundRectCallou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ose reasons and barriers include us as well.</a:t>
            </a:r>
          </a:p>
        </p:txBody>
      </p:sp>
    </p:spTree>
    <p:extLst>
      <p:ext uri="{BB962C8B-B14F-4D97-AF65-F5344CB8AC3E}">
        <p14:creationId xmlns:p14="http://schemas.microsoft.com/office/powerpoint/2010/main" val="386679593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4204CA3-45FE-6F4A-A9FB-32DD56897E6E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azardous infant products: Inclined sleepers</a:t>
            </a:r>
          </a:p>
        </p:txBody>
      </p:sp>
      <p:pic>
        <p:nvPicPr>
          <p:cNvPr id="3" name="Picture 2" descr="A poster of baby products&#10;&#10;Description automatically generated">
            <a:extLst>
              <a:ext uri="{FF2B5EF4-FFF2-40B4-BE49-F238E27FC236}">
                <a16:creationId xmlns:a16="http://schemas.microsoft.com/office/drawing/2014/main" id="{F19EAF4F-6AEB-D94E-86AA-B32BC29C549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62373" y="1027906"/>
            <a:ext cx="7067253" cy="549172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0D514CF-DFD2-0A4A-B3C2-6EB40A9DAF57}"/>
              </a:ext>
            </a:extLst>
          </p:cNvPr>
          <p:cNvCxnSpPr/>
          <p:nvPr/>
        </p:nvCxnSpPr>
        <p:spPr>
          <a:xfrm>
            <a:off x="2565451" y="6530403"/>
            <a:ext cx="7067253" cy="0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39536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4204CA3-45FE-6F4A-A9FB-32DD56897E6E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Hazardous infant products: Baby Loungers</a:t>
            </a:r>
          </a:p>
        </p:txBody>
      </p:sp>
      <p:pic>
        <p:nvPicPr>
          <p:cNvPr id="6" name="Picture 5" descr="A pair of pillows on a green carpet&#10;&#10;Description automatically generated">
            <a:extLst>
              <a:ext uri="{FF2B5EF4-FFF2-40B4-BE49-F238E27FC236}">
                <a16:creationId xmlns:a16="http://schemas.microsoft.com/office/drawing/2014/main" id="{C6E5B3B9-DACF-3649-951B-BADD0C7BA81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335" y="1926361"/>
            <a:ext cx="3691815" cy="3255037"/>
          </a:xfrm>
          <a:prstGeom prst="rect">
            <a:avLst/>
          </a:prstGeom>
        </p:spPr>
      </p:pic>
      <p:pic>
        <p:nvPicPr>
          <p:cNvPr id="8" name="Picture 7" descr="A baby sleeping in a blue pillow&#10;&#10;Description automatically generated">
            <a:extLst>
              <a:ext uri="{FF2B5EF4-FFF2-40B4-BE49-F238E27FC236}">
                <a16:creationId xmlns:a16="http://schemas.microsoft.com/office/drawing/2014/main" id="{87BCF7DB-6C24-4843-AEB4-F8BA65B7193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4104" y="1770258"/>
            <a:ext cx="2980267" cy="3557587"/>
          </a:xfrm>
          <a:prstGeom prst="rect">
            <a:avLst/>
          </a:prstGeom>
        </p:spPr>
      </p:pic>
      <p:pic>
        <p:nvPicPr>
          <p:cNvPr id="10" name="Picture 9" descr="A baby bed and a bag&#10;&#10;Description automatically generated">
            <a:extLst>
              <a:ext uri="{FF2B5EF4-FFF2-40B4-BE49-F238E27FC236}">
                <a16:creationId xmlns:a16="http://schemas.microsoft.com/office/drawing/2014/main" id="{660570A7-32E5-354C-B553-3027712ED98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8936" y="1770258"/>
            <a:ext cx="2104534" cy="341114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6599F4E-2BDE-CB45-B9A6-6CD86C09C3E5}"/>
              </a:ext>
            </a:extLst>
          </p:cNvPr>
          <p:cNvSpPr txBox="1"/>
          <p:nvPr/>
        </p:nvSpPr>
        <p:spPr>
          <a:xfrm>
            <a:off x="1984057" y="5338376"/>
            <a:ext cx="15970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Boppy</a:t>
            </a:r>
            <a:r>
              <a:rPr lang="en-US" dirty="0"/>
              <a:t> Loung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5A3B59B-D8EF-004D-8AAA-B7ACF2469987}"/>
              </a:ext>
            </a:extLst>
          </p:cNvPr>
          <p:cNvSpPr txBox="1"/>
          <p:nvPr/>
        </p:nvSpPr>
        <p:spPr>
          <a:xfrm>
            <a:off x="5258040" y="5326244"/>
            <a:ext cx="20619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nuggle Me loung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DE77C44-F58D-3E42-8AF1-9EEF8DF07852}"/>
              </a:ext>
            </a:extLst>
          </p:cNvPr>
          <p:cNvSpPr txBox="1"/>
          <p:nvPr/>
        </p:nvSpPr>
        <p:spPr>
          <a:xfrm>
            <a:off x="8944059" y="5326244"/>
            <a:ext cx="16142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Yoocaa</a:t>
            </a:r>
            <a:r>
              <a:rPr lang="en-US" dirty="0"/>
              <a:t> loung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B6626D-6361-714C-8AA8-7DF0B824BE75}"/>
              </a:ext>
            </a:extLst>
          </p:cNvPr>
          <p:cNvSpPr/>
          <p:nvPr/>
        </p:nvSpPr>
        <p:spPr>
          <a:xfrm>
            <a:off x="4724403" y="1770258"/>
            <a:ext cx="948267" cy="5942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  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FD36CD-E17F-9C41-A5DE-DF35FBAC6AEE}"/>
              </a:ext>
            </a:extLst>
          </p:cNvPr>
          <p:cNvSpPr/>
          <p:nvPr/>
        </p:nvSpPr>
        <p:spPr>
          <a:xfrm>
            <a:off x="7163754" y="4558147"/>
            <a:ext cx="948267" cy="7870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6A0D251-D406-7440-BD15-70883A3E01D3}"/>
              </a:ext>
            </a:extLst>
          </p:cNvPr>
          <p:cNvSpPr txBox="1"/>
          <p:nvPr/>
        </p:nvSpPr>
        <p:spPr>
          <a:xfrm>
            <a:off x="2279217" y="6108266"/>
            <a:ext cx="76335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*10 infant deaths occurred in these products in Cook County from 2019-2022*</a:t>
            </a:r>
          </a:p>
        </p:txBody>
      </p:sp>
    </p:spTree>
    <p:extLst>
      <p:ext uri="{BB962C8B-B14F-4D97-AF65-F5344CB8AC3E}">
        <p14:creationId xmlns:p14="http://schemas.microsoft.com/office/powerpoint/2010/main" val="164527308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F65F8EE-4719-C44E-869F-1298866B00F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873" y="181619"/>
            <a:ext cx="5018680" cy="6494761"/>
          </a:xfrm>
          <a:prstGeom prst="rect">
            <a:avLst/>
          </a:prstGeom>
        </p:spPr>
      </p:pic>
      <p:pic>
        <p:nvPicPr>
          <p:cNvPr id="5" name="Picture 4" descr="A list of baby products&#10;&#10;Description automatically generated">
            <a:extLst>
              <a:ext uri="{FF2B5EF4-FFF2-40B4-BE49-F238E27FC236}">
                <a16:creationId xmlns:a16="http://schemas.microsoft.com/office/drawing/2014/main" id="{2C296B37-BAC4-D340-97FE-2C7D61B8F9F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1449" y="181618"/>
            <a:ext cx="5020274" cy="6494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12283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5">
            <a:extLst>
              <a:ext uri="{FF2B5EF4-FFF2-40B4-BE49-F238E27FC236}">
                <a16:creationId xmlns:a16="http://schemas.microsoft.com/office/drawing/2014/main" id="{D95FB506-DE1C-F3D8-477C-8AEFD85C84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4167188"/>
            <a:ext cx="6400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400">
                <a:latin typeface="Georgia" panose="02040502050405020303" pitchFamily="18" charset="0"/>
                <a:ea typeface="Osaka" pitchFamily="-111" charset="-128"/>
              </a:rPr>
              <a:t>Department of Pediatrics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400">
                <a:latin typeface="Georgia" panose="02040502050405020303" pitchFamily="18" charset="0"/>
                <a:ea typeface="Osaka" pitchFamily="-111" charset="-128"/>
              </a:rPr>
              <a:t>Division of Newborn Medicine</a:t>
            </a:r>
          </a:p>
        </p:txBody>
      </p:sp>
      <p:sp>
        <p:nvSpPr>
          <p:cNvPr id="6147" name="TextBox 5">
            <a:extLst>
              <a:ext uri="{FF2B5EF4-FFF2-40B4-BE49-F238E27FC236}">
                <a16:creationId xmlns:a16="http://schemas.microsoft.com/office/drawing/2014/main" id="{DD07F3F9-DFF8-6DC3-3CB3-415905E1FF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2275" y="1795463"/>
            <a:ext cx="1134745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4000"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BJC Safe Sleep Initiative</a:t>
            </a:r>
          </a:p>
        </p:txBody>
      </p:sp>
      <p:sp>
        <p:nvSpPr>
          <p:cNvPr id="6148" name="TextBox 6">
            <a:extLst>
              <a:ext uri="{FF2B5EF4-FFF2-40B4-BE49-F238E27FC236}">
                <a16:creationId xmlns:a16="http://schemas.microsoft.com/office/drawing/2014/main" id="{BE7795A7-FD4D-CF62-D19C-77D832697DA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388" y="2990850"/>
            <a:ext cx="11349037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800" b="1"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rPr>
              <a:t>A quality improvement project to help babies sleep safely from birth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1800" b="1">
              <a:latin typeface="Georgia" panose="02040502050405020303" pitchFamily="18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800" b="1"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rPr>
              <a:t>Bryanne Colvin, MD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800" b="1"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rPr>
              <a:t>Washington University in St. Louis School of Medicine</a:t>
            </a:r>
          </a:p>
        </p:txBody>
      </p:sp>
      <p:pic>
        <p:nvPicPr>
          <p:cNvPr id="6149" name="Picture 1">
            <a:extLst>
              <a:ext uri="{FF2B5EF4-FFF2-40B4-BE49-F238E27FC236}">
                <a16:creationId xmlns:a16="http://schemas.microsoft.com/office/drawing/2014/main" id="{D542EA37-C718-ADD7-0E0D-1E9ADA143C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4088" y="295275"/>
            <a:ext cx="7743825" cy="1165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641609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>
            <a:extLst>
              <a:ext uri="{FF2B5EF4-FFF2-40B4-BE49-F238E27FC236}">
                <a16:creationId xmlns:a16="http://schemas.microsoft.com/office/drawing/2014/main" id="{CD2B4295-B24B-3C40-6EE0-638AD55D78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8950" y="469900"/>
            <a:ext cx="10217150" cy="596900"/>
          </a:xfrm>
        </p:spPr>
        <p:txBody>
          <a:bodyPr/>
          <a:lstStyle/>
          <a:p>
            <a:pPr algn="l" eaLnBrk="1" hangingPunct="1"/>
            <a:r>
              <a:rPr lang="en-US" altLang="en-US" sz="3600"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Objectives</a:t>
            </a:r>
          </a:p>
        </p:txBody>
      </p:sp>
      <p:sp>
        <p:nvSpPr>
          <p:cNvPr id="7171" name="Subtitle 2">
            <a:extLst>
              <a:ext uri="{FF2B5EF4-FFF2-40B4-BE49-F238E27FC236}">
                <a16:creationId xmlns:a16="http://schemas.microsoft.com/office/drawing/2014/main" id="{A84763E0-09D9-C467-E327-D46B91885D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0850" y="1481138"/>
            <a:ext cx="9236075" cy="4111625"/>
          </a:xfrm>
        </p:spPr>
        <p:txBody>
          <a:bodyPr/>
          <a:lstStyle/>
          <a:p>
            <a:pPr marL="342900" indent="-342900" algn="l" eaLnBrk="1" hangingPunct="1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rPr>
              <a:t>Background</a:t>
            </a:r>
          </a:p>
          <a:p>
            <a:pPr marL="342900" indent="-342900" algn="l" eaLnBrk="1" hangingPunct="1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rPr>
              <a:t>Project Goals</a:t>
            </a:r>
          </a:p>
          <a:p>
            <a:pPr marL="342900" indent="-342900" algn="l" eaLnBrk="1" hangingPunct="1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rPr>
              <a:t>Project Elements</a:t>
            </a:r>
          </a:p>
          <a:p>
            <a:pPr marL="342900" indent="-342900" algn="l" eaLnBrk="1" hangingPunct="1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rPr>
              <a:t>Safe Sleep Collaborative - Results</a:t>
            </a:r>
          </a:p>
          <a:p>
            <a:pPr marL="342900" indent="-342900" algn="l" eaLnBrk="1" hangingPunct="1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rPr>
              <a:t>Considerations </a:t>
            </a:r>
          </a:p>
          <a:p>
            <a:pPr marL="342900" indent="-342900" algn="l" eaLnBrk="1" hangingPunct="1">
              <a:buFont typeface="Arial" panose="020B0604020202020204" pitchFamily="34" charset="0"/>
              <a:buChar char="•"/>
            </a:pPr>
            <a:endParaRPr lang="en-US" altLang="en-US">
              <a:latin typeface="Georgia" panose="02040502050405020303" pitchFamily="18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 algn="l" eaLnBrk="1" hangingPunct="1">
              <a:buFont typeface="Arial" panose="020B0604020202020204" pitchFamily="34" charset="0"/>
              <a:buChar char="•"/>
            </a:pPr>
            <a:endParaRPr lang="en-US" altLang="en-US">
              <a:latin typeface="Georgia" panose="02040502050405020303" pitchFamily="18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Box 3">
            <a:extLst>
              <a:ext uri="{FF2B5EF4-FFF2-40B4-BE49-F238E27FC236}">
                <a16:creationId xmlns:a16="http://schemas.microsoft.com/office/drawing/2014/main" id="{E80EB6BE-4CFA-6923-C959-AED8C24BAC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75988" y="5653088"/>
            <a:ext cx="10160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800"/>
              <a:t>cdc.gov</a:t>
            </a:r>
          </a:p>
        </p:txBody>
      </p:sp>
      <p:pic>
        <p:nvPicPr>
          <p:cNvPr id="8195" name="Content Placeholder 5">
            <a:extLst>
              <a:ext uri="{FF2B5EF4-FFF2-40B4-BE49-F238E27FC236}">
                <a16:creationId xmlns:a16="http://schemas.microsoft.com/office/drawing/2014/main" id="{211CF5EC-AA0C-8E9D-7045-1F5332C0CF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2475" y="696913"/>
            <a:ext cx="8147050" cy="532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Down Arrow 2">
            <a:extLst>
              <a:ext uri="{FF2B5EF4-FFF2-40B4-BE49-F238E27FC236}">
                <a16:creationId xmlns:a16="http://schemas.microsoft.com/office/drawing/2014/main" id="{A12211FF-FB5C-F823-68A5-ADDCDA260D29}"/>
              </a:ext>
            </a:extLst>
          </p:cNvPr>
          <p:cNvSpPr/>
          <p:nvPr/>
        </p:nvSpPr>
        <p:spPr>
          <a:xfrm>
            <a:off x="3519488" y="1304925"/>
            <a:ext cx="158750" cy="571500"/>
          </a:xfrm>
          <a:prstGeom prst="downArrow">
            <a:avLst/>
          </a:prstGeom>
          <a:solidFill>
            <a:srgbClr val="A9343A"/>
          </a:solidFill>
          <a:ln w="9525" cap="flat" cmpd="sng" algn="ctr">
            <a:solidFill>
              <a:srgbClr val="A9343A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6473500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>
            <a:extLst>
              <a:ext uri="{FF2B5EF4-FFF2-40B4-BE49-F238E27FC236}">
                <a16:creationId xmlns:a16="http://schemas.microsoft.com/office/drawing/2014/main" id="{2BC3A1D7-ECEE-BA30-899C-E1A338A622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8950" y="469900"/>
            <a:ext cx="10217150" cy="596900"/>
          </a:xfrm>
        </p:spPr>
        <p:txBody>
          <a:bodyPr/>
          <a:lstStyle/>
          <a:p>
            <a:pPr algn="l" eaLnBrk="1" hangingPunct="1"/>
            <a:r>
              <a:rPr lang="en-US" altLang="en-US" sz="3200"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Background – SUID rates per 100,000 live births</a:t>
            </a:r>
          </a:p>
        </p:txBody>
      </p:sp>
      <p:sp>
        <p:nvSpPr>
          <p:cNvPr id="9219" name="TextBox 3">
            <a:extLst>
              <a:ext uri="{FF2B5EF4-FFF2-40B4-BE49-F238E27FC236}">
                <a16:creationId xmlns:a16="http://schemas.microsoft.com/office/drawing/2014/main" id="{EAAB7078-387B-772C-B976-30A6C14E5B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1000" y="5473700"/>
            <a:ext cx="612933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200" b="1" i="1">
                <a:latin typeface="Georgia" panose="02040502050405020303" pitchFamily="18" charset="0"/>
              </a:rPr>
              <a:t>ASSB</a:t>
            </a:r>
            <a:r>
              <a:rPr lang="en-US" altLang="en-US" sz="1200" i="1">
                <a:latin typeface="Georgia" panose="02040502050405020303" pitchFamily="18" charset="0"/>
              </a:rPr>
              <a:t> – Accidental Suffocation &amp; Strangulation in Bed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200" b="1" i="1">
                <a:latin typeface="Georgia" panose="02040502050405020303" pitchFamily="18" charset="0"/>
              </a:rPr>
              <a:t>SIDS</a:t>
            </a:r>
            <a:r>
              <a:rPr lang="en-US" altLang="en-US" sz="1200" i="1">
                <a:latin typeface="Georgia" panose="02040502050405020303" pitchFamily="18" charset="0"/>
              </a:rPr>
              <a:t> – Sudden Infant Death Syndrome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200" b="1" i="1">
                <a:latin typeface="Georgia" panose="02040502050405020303" pitchFamily="18" charset="0"/>
              </a:rPr>
              <a:t>SUID</a:t>
            </a:r>
            <a:r>
              <a:rPr lang="en-US" altLang="en-US" sz="1200" i="1">
                <a:latin typeface="Georgia" panose="02040502050405020303" pitchFamily="18" charset="0"/>
              </a:rPr>
              <a:t> – Sudden Unexpected Infant Death </a:t>
            </a:r>
          </a:p>
        </p:txBody>
      </p:sp>
      <p:sp>
        <p:nvSpPr>
          <p:cNvPr id="9220" name="TextBox 4">
            <a:extLst>
              <a:ext uri="{FF2B5EF4-FFF2-40B4-BE49-F238E27FC236}">
                <a16:creationId xmlns:a16="http://schemas.microsoft.com/office/drawing/2014/main" id="{E6740EAA-F71E-7CA2-E078-679544FDDB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2463" y="2327275"/>
            <a:ext cx="142716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000" b="1">
                <a:latin typeface="Georgia" panose="02040502050405020303" pitchFamily="18" charset="0"/>
              </a:rPr>
              <a:t>STL CITY</a:t>
            </a:r>
          </a:p>
        </p:txBody>
      </p:sp>
      <p:sp>
        <p:nvSpPr>
          <p:cNvPr id="9221" name="TextBox 5">
            <a:extLst>
              <a:ext uri="{FF2B5EF4-FFF2-40B4-BE49-F238E27FC236}">
                <a16:creationId xmlns:a16="http://schemas.microsoft.com/office/drawing/2014/main" id="{7D8E40B4-A697-1048-C295-BF277F620F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8350" y="3208338"/>
            <a:ext cx="13462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800">
                <a:latin typeface="Georgia" panose="02040502050405020303" pitchFamily="18" charset="0"/>
              </a:rPr>
              <a:t>MISSOURI</a:t>
            </a:r>
          </a:p>
        </p:txBody>
      </p:sp>
      <p:sp>
        <p:nvSpPr>
          <p:cNvPr id="9222" name="TextBox 6">
            <a:extLst>
              <a:ext uri="{FF2B5EF4-FFF2-40B4-BE49-F238E27FC236}">
                <a16:creationId xmlns:a16="http://schemas.microsoft.com/office/drawing/2014/main" id="{F163110C-F654-AE49-A29D-E1FBFEF5FA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19250" y="4132263"/>
            <a:ext cx="48895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800">
                <a:latin typeface="Georgia" panose="02040502050405020303" pitchFamily="18" charset="0"/>
              </a:rPr>
              <a:t>US</a:t>
            </a:r>
          </a:p>
        </p:txBody>
      </p:sp>
      <p:grpSp>
        <p:nvGrpSpPr>
          <p:cNvPr id="9223" name="Group 7">
            <a:extLst>
              <a:ext uri="{FF2B5EF4-FFF2-40B4-BE49-F238E27FC236}">
                <a16:creationId xmlns:a16="http://schemas.microsoft.com/office/drawing/2014/main" id="{C87A7059-90AE-3115-6301-0612F4556526}"/>
              </a:ext>
            </a:extLst>
          </p:cNvPr>
          <p:cNvGrpSpPr>
            <a:grpSpLocks/>
          </p:cNvGrpSpPr>
          <p:nvPr/>
        </p:nvGrpSpPr>
        <p:grpSpPr bwMode="auto">
          <a:xfrm>
            <a:off x="2414588" y="1228725"/>
            <a:ext cx="7362825" cy="4333875"/>
            <a:chOff x="1630018" y="1152938"/>
            <a:chExt cx="9443278" cy="4333454"/>
          </a:xfrm>
        </p:grpSpPr>
        <p:graphicFrame>
          <p:nvGraphicFramePr>
            <p:cNvPr id="9226" name="Chart 8">
              <a:extLst>
                <a:ext uri="{FF2B5EF4-FFF2-40B4-BE49-F238E27FC236}">
                  <a16:creationId xmlns:a16="http://schemas.microsoft.com/office/drawing/2014/main" id="{5A55731C-5329-E0EC-C47B-9D17BF1708A0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1564853" y="1102138"/>
            <a:ext cx="9573608" cy="437542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hart" r:id="rId2" imgW="7474344" imgH="4383404" progId="Excel.Chart.8">
                    <p:embed/>
                  </p:oleObj>
                </mc:Choice>
                <mc:Fallback>
                  <p:oleObj name="Chart" r:id="rId2" imgW="7474344" imgH="4383404" progId="Excel.Chart.8">
                    <p:embed/>
                    <p:pic>
                      <p:nvPicPr>
                        <p:cNvPr id="9226" name="Chart 8">
                          <a:extLst>
                            <a:ext uri="{FF2B5EF4-FFF2-40B4-BE49-F238E27FC236}">
                              <a16:creationId xmlns:a16="http://schemas.microsoft.com/office/drawing/2014/main" id="{5A55731C-5329-E0EC-C47B-9D17BF1708A0}"/>
                            </a:ext>
                          </a:extLst>
                        </p:cNvPr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3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564853" y="1102138"/>
                          <a:ext cx="9573608" cy="4375427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9227" name="TextBox 9">
              <a:extLst>
                <a:ext uri="{FF2B5EF4-FFF2-40B4-BE49-F238E27FC236}">
                  <a16:creationId xmlns:a16="http://schemas.microsoft.com/office/drawing/2014/main" id="{9B1DF699-3454-F06A-4D5B-2430807508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68756" y="2291764"/>
              <a:ext cx="1162219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2000" b="1" i="1">
                  <a:solidFill>
                    <a:schemeClr val="bg1"/>
                  </a:solidFill>
                  <a:latin typeface="Georgia" panose="02040502050405020303" pitchFamily="18" charset="0"/>
                </a:rPr>
                <a:t>ASSB</a:t>
              </a:r>
            </a:p>
          </p:txBody>
        </p:sp>
        <p:sp>
          <p:nvSpPr>
            <p:cNvPr id="9228" name="TextBox 10">
              <a:extLst>
                <a:ext uri="{FF2B5EF4-FFF2-40B4-BE49-F238E27FC236}">
                  <a16:creationId xmlns:a16="http://schemas.microsoft.com/office/drawing/2014/main" id="{F99E056F-7257-062B-CDF2-29C8AAD3A34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918177" y="2259044"/>
              <a:ext cx="1053237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2000" b="1" i="1">
                  <a:solidFill>
                    <a:schemeClr val="bg1"/>
                  </a:solidFill>
                  <a:latin typeface="Georgia" panose="02040502050405020303" pitchFamily="18" charset="0"/>
                </a:rPr>
                <a:t>UNK</a:t>
              </a:r>
            </a:p>
          </p:txBody>
        </p:sp>
        <p:sp>
          <p:nvSpPr>
            <p:cNvPr id="9229" name="TextBox 11">
              <a:extLst>
                <a:ext uri="{FF2B5EF4-FFF2-40B4-BE49-F238E27FC236}">
                  <a16:creationId xmlns:a16="http://schemas.microsoft.com/office/drawing/2014/main" id="{DF793AB1-ECA9-A298-285B-84B5D9A33C4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402419" y="2272298"/>
              <a:ext cx="1086137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2000" b="1" i="1">
                  <a:solidFill>
                    <a:schemeClr val="bg1"/>
                  </a:solidFill>
                  <a:latin typeface="Georgia" panose="02040502050405020303" pitchFamily="18" charset="0"/>
                </a:rPr>
                <a:t>SIDS</a:t>
              </a:r>
            </a:p>
          </p:txBody>
        </p:sp>
        <p:sp>
          <p:nvSpPr>
            <p:cNvPr id="9230" name="TextBox 12">
              <a:extLst>
                <a:ext uri="{FF2B5EF4-FFF2-40B4-BE49-F238E27FC236}">
                  <a16:creationId xmlns:a16="http://schemas.microsoft.com/office/drawing/2014/main" id="{77DCB039-1A2B-9B4D-EF31-FF0EE129EBA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965636" y="5086282"/>
              <a:ext cx="744791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2000" b="1" i="1">
                  <a:latin typeface="Georgia" panose="02040502050405020303" pitchFamily="18" charset="0"/>
                </a:rPr>
                <a:t>171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FD95EE6-BE5A-D1E1-F0B4-A73652E5204A}"/>
                </a:ext>
              </a:extLst>
            </p:cNvPr>
            <p:cNvSpPr txBox="1"/>
            <p:nvPr/>
          </p:nvSpPr>
          <p:spPr>
            <a:xfrm>
              <a:off x="6441243" y="5064158"/>
              <a:ext cx="787959" cy="40001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2000" b="1" i="1" dirty="0">
                  <a:solidFill>
                    <a:schemeClr val="bg2">
                      <a:lumMod val="75000"/>
                    </a:schemeClr>
                  </a:solidFill>
                  <a:latin typeface="Georgia" panose="02040502050405020303" pitchFamily="18" charset="0"/>
                </a:rPr>
                <a:t>110</a:t>
              </a: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49EAD3B-C96D-F36B-19E3-326EF80FB398}"/>
                </a:ext>
              </a:extLst>
            </p:cNvPr>
            <p:cNvCxnSpPr>
              <a:cxnSpLocks/>
            </p:cNvCxnSpPr>
            <p:nvPr/>
          </p:nvCxnSpPr>
          <p:spPr>
            <a:xfrm>
              <a:off x="10376961" y="2259319"/>
              <a:ext cx="0" cy="2796903"/>
            </a:xfrm>
            <a:prstGeom prst="line">
              <a:avLst/>
            </a:prstGeom>
            <a:ln>
              <a:solidFill>
                <a:schemeClr val="tx1"/>
              </a:solidFill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0A7A54C-FE74-A019-D1A3-B483AD2A0FC7}"/>
                </a:ext>
              </a:extLst>
            </p:cNvPr>
            <p:cNvCxnSpPr>
              <a:cxnSpLocks/>
            </p:cNvCxnSpPr>
            <p:nvPr/>
          </p:nvCxnSpPr>
          <p:spPr>
            <a:xfrm>
              <a:off x="6870854" y="3183154"/>
              <a:ext cx="0" cy="1873068"/>
            </a:xfrm>
            <a:prstGeom prst="line">
              <a:avLst/>
            </a:prstGeom>
            <a:ln>
              <a:solidFill>
                <a:schemeClr val="bg2">
                  <a:lumMod val="75000"/>
                  <a:alpha val="93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6677703-21BD-9089-1E10-B61813B400B1}"/>
                </a:ext>
              </a:extLst>
            </p:cNvPr>
            <p:cNvSpPr txBox="1"/>
            <p:nvPr/>
          </p:nvSpPr>
          <p:spPr>
            <a:xfrm>
              <a:off x="5698080" y="5076857"/>
              <a:ext cx="610820" cy="40001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2000" b="1" i="1" dirty="0">
                  <a:solidFill>
                    <a:schemeClr val="bg2">
                      <a:lumMod val="75000"/>
                    </a:schemeClr>
                  </a:solidFill>
                  <a:latin typeface="Georgia" panose="02040502050405020303" pitchFamily="18" charset="0"/>
                </a:rPr>
                <a:t>91</a:t>
              </a: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528DF12D-8907-3818-66F9-6FBBEA0C5432}"/>
                </a:ext>
              </a:extLst>
            </p:cNvPr>
            <p:cNvCxnSpPr>
              <a:cxnSpLocks/>
            </p:cNvCxnSpPr>
            <p:nvPr/>
          </p:nvCxnSpPr>
          <p:spPr>
            <a:xfrm>
              <a:off x="5970913" y="4095877"/>
              <a:ext cx="0" cy="960345"/>
            </a:xfrm>
            <a:prstGeom prst="line">
              <a:avLst/>
            </a:prstGeom>
            <a:ln>
              <a:solidFill>
                <a:schemeClr val="bg2">
                  <a:lumMod val="75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2D40191C-D3E4-D2C5-505F-C30C801839D4}"/>
              </a:ext>
            </a:extLst>
          </p:cNvPr>
          <p:cNvSpPr txBox="1"/>
          <p:nvPr/>
        </p:nvSpPr>
        <p:spPr>
          <a:xfrm>
            <a:off x="6980238" y="5518150"/>
            <a:ext cx="4830762" cy="461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SUID = ASSB + Unknown + SIDS</a:t>
            </a:r>
          </a:p>
        </p:txBody>
      </p:sp>
      <p:sp>
        <p:nvSpPr>
          <p:cNvPr id="9225" name="TextBox 19">
            <a:extLst>
              <a:ext uri="{FF2B5EF4-FFF2-40B4-BE49-F238E27FC236}">
                <a16:creationId xmlns:a16="http://schemas.microsoft.com/office/drawing/2014/main" id="{E259C353-26DB-5AC5-4401-9BF0A7DEE6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8363" y="1155700"/>
            <a:ext cx="10455275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>
                <a:solidFill>
                  <a:srgbClr val="595959"/>
                </a:solidFill>
                <a:latin typeface="Georgia" panose="02040502050405020303" pitchFamily="18" charset="0"/>
              </a:rPr>
              <a:t>In St. Louis, Black infants are </a:t>
            </a:r>
            <a:r>
              <a:rPr lang="en-US" altLang="en-US" b="1">
                <a:solidFill>
                  <a:srgbClr val="C00000"/>
                </a:solidFill>
                <a:latin typeface="Georgia" panose="02040502050405020303" pitchFamily="18" charset="0"/>
              </a:rPr>
              <a:t>4.2x</a:t>
            </a:r>
            <a:r>
              <a:rPr lang="en-US" altLang="en-US">
                <a:solidFill>
                  <a:srgbClr val="595959"/>
                </a:solidFill>
                <a:latin typeface="Georgia" panose="02040502050405020303" pitchFamily="18" charset="0"/>
              </a:rPr>
              <a:t> more likely to die than White infants</a:t>
            </a: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 Placeholder 5">
            <a:extLst>
              <a:ext uri="{FF2B5EF4-FFF2-40B4-BE49-F238E27FC236}">
                <a16:creationId xmlns:a16="http://schemas.microsoft.com/office/drawing/2014/main" id="{187F3541-2F06-42A2-0B8E-E4DBD7E3A7D1}"/>
              </a:ext>
            </a:extLst>
          </p:cNvPr>
          <p:cNvSpPr txBox="1">
            <a:spLocks/>
          </p:cNvSpPr>
          <p:nvPr/>
        </p:nvSpPr>
        <p:spPr bwMode="auto">
          <a:xfrm>
            <a:off x="839788" y="858838"/>
            <a:ext cx="5157787" cy="82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altLang="en-US">
                <a:latin typeface="Georgia" panose="02040502050405020303" pitchFamily="18" charset="0"/>
              </a:rPr>
              <a:t>Current State</a:t>
            </a:r>
          </a:p>
        </p:txBody>
      </p:sp>
      <p:pic>
        <p:nvPicPr>
          <p:cNvPr id="10243" name="Content Placeholder 9">
            <a:extLst>
              <a:ext uri="{FF2B5EF4-FFF2-40B4-BE49-F238E27FC236}">
                <a16:creationId xmlns:a16="http://schemas.microsoft.com/office/drawing/2014/main" id="{42994E5E-5CED-D2E6-51AA-308CCC602E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2700" y="1797050"/>
            <a:ext cx="4271963" cy="367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7567A7E-3CD3-87AC-C61F-F518A9511E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72200" y="858838"/>
            <a:ext cx="5183188" cy="82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altLang="en-US">
                <a:latin typeface="Georgia" panose="02040502050405020303" pitchFamily="18" charset="0"/>
              </a:rPr>
              <a:t>Ideal State</a:t>
            </a:r>
          </a:p>
        </p:txBody>
      </p:sp>
      <p:pic>
        <p:nvPicPr>
          <p:cNvPr id="6" name="Content Placeholder 10">
            <a:extLst>
              <a:ext uri="{FF2B5EF4-FFF2-40B4-BE49-F238E27FC236}">
                <a16:creationId xmlns:a16="http://schemas.microsoft.com/office/drawing/2014/main" id="{42C3CF24-964E-2ECF-CF8B-B473A332E1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2200" y="1797050"/>
            <a:ext cx="5183188" cy="3455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943919" y="6421628"/>
            <a:ext cx="23044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SUID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ok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unty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Report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 spc="-10">
                <a:solidFill>
                  <a:srgbClr val="898989"/>
                </a:solidFill>
                <a:latin typeface="Calibri"/>
                <a:cs typeface="Calibri"/>
              </a:rPr>
              <a:t>2019-</a:t>
            </a:r>
            <a:r>
              <a:rPr sz="1200" spc="-20">
                <a:solidFill>
                  <a:srgbClr val="898989"/>
                </a:solidFill>
                <a:latin typeface="Calibri"/>
                <a:cs typeface="Calibri"/>
              </a:rPr>
              <a:t>2022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540421" y="245363"/>
            <a:ext cx="4535170" cy="5130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b="1">
                <a:solidFill>
                  <a:srgbClr val="006232"/>
                </a:solidFill>
                <a:latin typeface="Arial"/>
                <a:cs typeface="Arial"/>
              </a:rPr>
              <a:t>The</a:t>
            </a:r>
            <a:r>
              <a:rPr sz="3200" b="1" spc="-40">
                <a:solidFill>
                  <a:srgbClr val="006232"/>
                </a:solidFill>
                <a:latin typeface="Arial"/>
                <a:cs typeface="Arial"/>
              </a:rPr>
              <a:t> </a:t>
            </a:r>
            <a:r>
              <a:rPr sz="3200" b="1">
                <a:solidFill>
                  <a:srgbClr val="006232"/>
                </a:solidFill>
                <a:latin typeface="Arial"/>
                <a:cs typeface="Arial"/>
              </a:rPr>
              <a:t>Sleep</a:t>
            </a:r>
            <a:r>
              <a:rPr sz="3200" b="1" spc="-40">
                <a:solidFill>
                  <a:srgbClr val="006232"/>
                </a:solidFill>
                <a:latin typeface="Arial"/>
                <a:cs typeface="Arial"/>
              </a:rPr>
              <a:t> </a:t>
            </a:r>
            <a:r>
              <a:rPr sz="3200" b="1" spc="-10">
                <a:solidFill>
                  <a:srgbClr val="006232"/>
                </a:solidFill>
                <a:latin typeface="Arial"/>
                <a:cs typeface="Arial"/>
              </a:rPr>
              <a:t>Environment</a:t>
            </a:r>
            <a:endParaRPr sz="3200">
              <a:latin typeface="Arial"/>
              <a:cs typeface="Arial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153400" y="584200"/>
            <a:ext cx="3508366" cy="5641948"/>
          </a:xfrm>
          <a:prstGeom prst="rect">
            <a:avLst/>
          </a:prstGeom>
        </p:spPr>
      </p:pic>
      <p:grpSp>
        <p:nvGrpSpPr>
          <p:cNvPr id="5" name="object 5"/>
          <p:cNvGrpSpPr/>
          <p:nvPr/>
        </p:nvGrpSpPr>
        <p:grpSpPr>
          <a:xfrm>
            <a:off x="0" y="1712733"/>
            <a:ext cx="8087359" cy="3962400"/>
            <a:chOff x="0" y="1712733"/>
            <a:chExt cx="8087359" cy="3962400"/>
          </a:xfrm>
        </p:grpSpPr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584700" y="1712733"/>
              <a:ext cx="3502084" cy="3962399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2353626"/>
              <a:ext cx="4604396" cy="2150747"/>
            </a:xfrm>
            <a:prstGeom prst="rect">
              <a:avLst/>
            </a:prstGeom>
          </p:spPr>
        </p:pic>
      </p:grpSp>
      <p:sp>
        <p:nvSpPr>
          <p:cNvPr id="8" name="object 8"/>
          <p:cNvSpPr/>
          <p:nvPr/>
        </p:nvSpPr>
        <p:spPr>
          <a:xfrm>
            <a:off x="0" y="6641629"/>
            <a:ext cx="12188825" cy="216535"/>
          </a:xfrm>
          <a:custGeom>
            <a:avLst/>
            <a:gdLst/>
            <a:ahLst/>
            <a:cxnLst/>
            <a:rect l="l" t="t" r="r" b="b"/>
            <a:pathLst>
              <a:path w="12188825" h="216534">
                <a:moveTo>
                  <a:pt x="12188825" y="0"/>
                </a:moveTo>
                <a:lnTo>
                  <a:pt x="0" y="0"/>
                </a:lnTo>
                <a:lnTo>
                  <a:pt x="0" y="216369"/>
                </a:lnTo>
                <a:lnTo>
                  <a:pt x="12188825" y="216369"/>
                </a:lnTo>
                <a:lnTo>
                  <a:pt x="12188825" y="0"/>
                </a:lnTo>
                <a:close/>
              </a:path>
            </a:pathLst>
          </a:custGeom>
          <a:solidFill>
            <a:srgbClr val="00B58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>
            <a:extLst>
              <a:ext uri="{FF2B5EF4-FFF2-40B4-BE49-F238E27FC236}">
                <a16:creationId xmlns:a16="http://schemas.microsoft.com/office/drawing/2014/main" id="{8C5F29E8-F9DA-EC9F-5DAC-0DB5D53065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8950" y="469900"/>
            <a:ext cx="10217150" cy="596900"/>
          </a:xfrm>
        </p:spPr>
        <p:txBody>
          <a:bodyPr/>
          <a:lstStyle/>
          <a:p>
            <a:pPr algn="l" eaLnBrk="1" hangingPunct="1"/>
            <a:r>
              <a:rPr lang="en-US" altLang="en-US" sz="3600"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Problem</a:t>
            </a:r>
          </a:p>
        </p:txBody>
      </p:sp>
      <p:sp>
        <p:nvSpPr>
          <p:cNvPr id="11267" name="Subtitle 2">
            <a:extLst>
              <a:ext uri="{FF2B5EF4-FFF2-40B4-BE49-F238E27FC236}">
                <a16:creationId xmlns:a16="http://schemas.microsoft.com/office/drawing/2014/main" id="{0BE88D30-E8A0-2726-DD93-38725BBB65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0850" y="1481138"/>
            <a:ext cx="11231563" cy="4111625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en-US" sz="2800">
                <a:latin typeface="Georgia" panose="02040502050405020303" pitchFamily="18" charset="0"/>
              </a:rPr>
              <a:t>Our hospitals do not model safe sleep for families during their inpatient stay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en-US" sz="2800">
                <a:latin typeface="Georgia" panose="02040502050405020303" pitchFamily="18" charset="0"/>
              </a:rPr>
              <a:t>Modeling is important to improve compliance with safe sleep guidelines at hom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en-US" sz="2800">
                <a:latin typeface="Georgia" panose="02040502050405020303" pitchFamily="18" charset="0"/>
              </a:rPr>
              <a:t>Infant mortality from SUID is above the national average in Missouri and Saint Louis</a:t>
            </a:r>
          </a:p>
          <a:p>
            <a:pPr marL="342900" indent="-342900" algn="l" eaLnBrk="1" hangingPunct="1">
              <a:buFont typeface="Arial" panose="020B0604020202020204" pitchFamily="34" charset="0"/>
              <a:buChar char="•"/>
            </a:pPr>
            <a:endParaRPr lang="en-US" altLang="en-US" sz="2800">
              <a:latin typeface="Georgia" panose="02040502050405020303" pitchFamily="18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972420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>
            <a:extLst>
              <a:ext uri="{FF2B5EF4-FFF2-40B4-BE49-F238E27FC236}">
                <a16:creationId xmlns:a16="http://schemas.microsoft.com/office/drawing/2014/main" id="{B04B8ABA-F0E1-C3B3-3B15-B849466D7B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7425" y="469900"/>
            <a:ext cx="10217150" cy="596900"/>
          </a:xfrm>
        </p:spPr>
        <p:txBody>
          <a:bodyPr/>
          <a:lstStyle/>
          <a:p>
            <a:pPr eaLnBrk="1" hangingPunct="1"/>
            <a:r>
              <a:rPr lang="en-US" altLang="en-US" sz="3200"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A face to every story – Preventing Harm</a:t>
            </a:r>
          </a:p>
        </p:txBody>
      </p:sp>
      <p:pic>
        <p:nvPicPr>
          <p:cNvPr id="12291" name="Content Placeholder 7">
            <a:extLst>
              <a:ext uri="{FF2B5EF4-FFF2-40B4-BE49-F238E27FC236}">
                <a16:creationId xmlns:a16="http://schemas.microsoft.com/office/drawing/2014/main" id="{B950E802-85B5-C34F-E3BD-4F3D46A907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3613" y="1609725"/>
            <a:ext cx="2644775" cy="363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>
            <a:extLst>
              <a:ext uri="{FF2B5EF4-FFF2-40B4-BE49-F238E27FC236}">
                <a16:creationId xmlns:a16="http://schemas.microsoft.com/office/drawing/2014/main" id="{1A0F1F75-CE3D-4612-08DB-80B3B9ABC8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8950" y="469900"/>
            <a:ext cx="10217150" cy="596900"/>
          </a:xfrm>
        </p:spPr>
        <p:txBody>
          <a:bodyPr/>
          <a:lstStyle/>
          <a:p>
            <a:pPr algn="l" eaLnBrk="1" hangingPunct="1"/>
            <a:r>
              <a:rPr lang="en-US" altLang="en-US" sz="3200"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Project Goals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3C757E55-B12B-9396-9187-E72C2281B9BA}"/>
              </a:ext>
            </a:extLst>
          </p:cNvPr>
          <p:cNvGraphicFramePr>
            <a:graphicFrameLocks/>
          </p:cNvGraphicFramePr>
          <p:nvPr/>
        </p:nvGraphicFramePr>
        <p:xfrm>
          <a:off x="602206" y="1077073"/>
          <a:ext cx="11610342" cy="49847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4EDAC3AD-C22D-E346-E083-3CE21544B7E4}"/>
              </a:ext>
            </a:extLst>
          </p:cNvPr>
          <p:cNvSpPr/>
          <p:nvPr/>
        </p:nvSpPr>
        <p:spPr>
          <a:xfrm>
            <a:off x="342900" y="2343150"/>
            <a:ext cx="11610975" cy="2360613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619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4">
            <a:extLst>
              <a:ext uri="{FF2B5EF4-FFF2-40B4-BE49-F238E27FC236}">
                <a16:creationId xmlns:a16="http://schemas.microsoft.com/office/drawing/2014/main" id="{DA30C9D6-D7E8-DC43-0DF2-2685D665D9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8050" y="1339850"/>
            <a:ext cx="6635750" cy="470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39" name="Content Placeholder 2">
            <a:extLst>
              <a:ext uri="{FF2B5EF4-FFF2-40B4-BE49-F238E27FC236}">
                <a16:creationId xmlns:a16="http://schemas.microsoft.com/office/drawing/2014/main" id="{F3B2312D-5376-AFF9-D55D-90AC7E73D0E3}"/>
              </a:ext>
            </a:extLst>
          </p:cNvPr>
          <p:cNvSpPr txBox="1">
            <a:spLocks/>
          </p:cNvSpPr>
          <p:nvPr/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en-US" altLang="en-US" sz="2400">
                <a:latin typeface="Georgia" panose="02040502050405020303" pitchFamily="18" charset="0"/>
              </a:rPr>
              <a:t>Our Team:</a:t>
            </a:r>
          </a:p>
          <a:p>
            <a:pPr>
              <a:buFont typeface="Arial" panose="020B0604020202020204" pitchFamily="34" charset="0"/>
              <a:buNone/>
            </a:pPr>
            <a:r>
              <a:rPr lang="en-US" altLang="en-US" sz="2400" b="1">
                <a:latin typeface="Georgia" panose="02040502050405020303" pitchFamily="18" charset="0"/>
              </a:rPr>
              <a:t>Multidisciplinary</a:t>
            </a:r>
            <a:r>
              <a:rPr lang="en-US" altLang="en-US" sz="2400">
                <a:latin typeface="Georgia" panose="02040502050405020303" pitchFamily="18" charset="0"/>
              </a:rPr>
              <a:t>, </a:t>
            </a:r>
          </a:p>
          <a:p>
            <a:pPr>
              <a:buFont typeface="Arial" panose="020B0604020202020204" pitchFamily="34" charset="0"/>
              <a:buNone/>
            </a:pPr>
            <a:r>
              <a:rPr lang="en-US" altLang="en-US" sz="2400">
                <a:latin typeface="Georgia" panose="02040502050405020303" pitchFamily="18" charset="0"/>
              </a:rPr>
              <a:t>multi-facility </a:t>
            </a:r>
          </a:p>
          <a:p>
            <a:pPr>
              <a:buFont typeface="Arial" panose="020B0604020202020204" pitchFamily="34" charset="0"/>
              <a:buNone/>
            </a:pPr>
            <a:r>
              <a:rPr lang="en-US" altLang="en-US" sz="2400">
                <a:latin typeface="Georgia" panose="02040502050405020303" pitchFamily="18" charset="0"/>
              </a:rPr>
              <a:t>collaborative to </a:t>
            </a:r>
          </a:p>
          <a:p>
            <a:pPr>
              <a:buFont typeface="Arial" panose="020B0604020202020204" pitchFamily="34" charset="0"/>
              <a:buNone/>
            </a:pPr>
            <a:r>
              <a:rPr lang="en-US" altLang="en-US" sz="2400">
                <a:latin typeface="Georgia" panose="02040502050405020303" pitchFamily="18" charset="0"/>
              </a:rPr>
              <a:t>implement safe sleep </a:t>
            </a:r>
          </a:p>
          <a:p>
            <a:pPr>
              <a:buFont typeface="Arial" panose="020B0604020202020204" pitchFamily="34" charset="0"/>
              <a:buNone/>
            </a:pPr>
            <a:r>
              <a:rPr lang="en-US" altLang="en-US" sz="2400">
                <a:latin typeface="Georgia" panose="02040502050405020303" pitchFamily="18" charset="0"/>
              </a:rPr>
              <a:t>across the system led</a:t>
            </a:r>
          </a:p>
          <a:p>
            <a:pPr>
              <a:buFont typeface="Arial" panose="020B0604020202020204" pitchFamily="34" charset="0"/>
              <a:buNone/>
            </a:pPr>
            <a:r>
              <a:rPr lang="en-US" altLang="en-US" sz="2400">
                <a:latin typeface="Georgia" panose="02040502050405020303" pitchFamily="18" charset="0"/>
              </a:rPr>
              <a:t>by </a:t>
            </a:r>
            <a:r>
              <a:rPr lang="en-US" altLang="en-US" sz="2400" b="1">
                <a:latin typeface="Georgia" panose="02040502050405020303" pitchFamily="18" charset="0"/>
              </a:rPr>
              <a:t>nurse-physician</a:t>
            </a:r>
          </a:p>
          <a:p>
            <a:pPr>
              <a:buFont typeface="Arial" panose="020B0604020202020204" pitchFamily="34" charset="0"/>
              <a:buNone/>
            </a:pPr>
            <a:r>
              <a:rPr lang="en-US" altLang="en-US" sz="2400" b="1">
                <a:latin typeface="Georgia" panose="02040502050405020303" pitchFamily="18" charset="0"/>
              </a:rPr>
              <a:t>dyads</a:t>
            </a:r>
            <a:r>
              <a:rPr lang="en-US" altLang="en-US" sz="2400">
                <a:latin typeface="Georgia" panose="02040502050405020303" pitchFamily="18" charset="0"/>
              </a:rPr>
              <a:t> in each unit</a:t>
            </a:r>
          </a:p>
        </p:txBody>
      </p:sp>
      <p:pic>
        <p:nvPicPr>
          <p:cNvPr id="14340" name="Picture 3">
            <a:extLst>
              <a:ext uri="{FF2B5EF4-FFF2-40B4-BE49-F238E27FC236}">
                <a16:creationId xmlns:a16="http://schemas.microsoft.com/office/drawing/2014/main" id="{4FA8BE6C-E9CA-3080-27FE-04D4F25BAA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0" y="317500"/>
            <a:ext cx="7747000" cy="116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110670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Content Placeholder 2">
            <a:extLst>
              <a:ext uri="{FF2B5EF4-FFF2-40B4-BE49-F238E27FC236}">
                <a16:creationId xmlns:a16="http://schemas.microsoft.com/office/drawing/2014/main" id="{8172421B-24E1-8AA6-B381-82314D15CD86}"/>
              </a:ext>
            </a:extLst>
          </p:cNvPr>
          <p:cNvSpPr txBox="1">
            <a:spLocks/>
          </p:cNvSpPr>
          <p:nvPr/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01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altLang="en-US" sz="2400">
                <a:latin typeface="Georgia" panose="02040502050405020303" pitchFamily="18" charset="0"/>
              </a:rPr>
              <a:t>Utilize the IHI Model for Improvement</a:t>
            </a:r>
          </a:p>
          <a:p>
            <a:r>
              <a:rPr lang="en-US" altLang="en-US" sz="2400">
                <a:latin typeface="Georgia" panose="02040502050405020303" pitchFamily="18" charset="0"/>
              </a:rPr>
              <a:t>Develop safe sleep policy</a:t>
            </a:r>
          </a:p>
          <a:p>
            <a:r>
              <a:rPr lang="en-US" altLang="en-US" sz="2400">
                <a:latin typeface="Georgia" panose="02040502050405020303" pitchFamily="18" charset="0"/>
              </a:rPr>
              <a:t>Develop staff education (model the behaviors)</a:t>
            </a:r>
          </a:p>
          <a:p>
            <a:pPr lvl="1"/>
            <a:r>
              <a:rPr lang="en-US" altLang="en-US" sz="2000">
                <a:latin typeface="Georgia" panose="02040502050405020303" pitchFamily="18" charset="0"/>
              </a:rPr>
              <a:t>Training for Safe Sleep Champions</a:t>
            </a:r>
          </a:p>
          <a:p>
            <a:r>
              <a:rPr lang="en-US" altLang="en-US" sz="2400">
                <a:latin typeface="Georgia" panose="02040502050405020303" pitchFamily="18" charset="0"/>
              </a:rPr>
              <a:t>Develop parent education </a:t>
            </a:r>
          </a:p>
          <a:p>
            <a:pPr lvl="1"/>
            <a:r>
              <a:rPr lang="en-US" altLang="en-US" sz="2000">
                <a:latin typeface="Georgia" panose="02040502050405020303" pitchFamily="18" charset="0"/>
              </a:rPr>
              <a:t>Crib cards and parent handouts</a:t>
            </a:r>
          </a:p>
          <a:p>
            <a:pPr lvl="1"/>
            <a:r>
              <a:rPr lang="en-US" altLang="en-US" sz="2000">
                <a:latin typeface="Georgia" panose="02040502050405020303" pitchFamily="18" charset="0"/>
              </a:rPr>
              <a:t>Laminated flip cards</a:t>
            </a:r>
          </a:p>
          <a:p>
            <a:pPr lvl="1"/>
            <a:r>
              <a:rPr lang="en-US" altLang="en-US" sz="2000">
                <a:latin typeface="Georgia" panose="02040502050405020303" pitchFamily="18" charset="0"/>
              </a:rPr>
              <a:t>Parent videos</a:t>
            </a:r>
          </a:p>
          <a:p>
            <a:r>
              <a:rPr lang="en-US" altLang="en-US" sz="2400">
                <a:latin typeface="Georgia" panose="02040502050405020303" pitchFamily="18" charset="0"/>
              </a:rPr>
              <a:t>Develop sleep metrics and track compliance</a:t>
            </a:r>
          </a:p>
          <a:p>
            <a:endParaRPr lang="en-US" altLang="en-US" sz="2400">
              <a:latin typeface="Georgia" panose="02040502050405020303" pitchFamily="18" charset="0"/>
            </a:endParaRPr>
          </a:p>
        </p:txBody>
      </p:sp>
      <p:pic>
        <p:nvPicPr>
          <p:cNvPr id="15363" name="Picture 3">
            <a:extLst>
              <a:ext uri="{FF2B5EF4-FFF2-40B4-BE49-F238E27FC236}">
                <a16:creationId xmlns:a16="http://schemas.microsoft.com/office/drawing/2014/main" id="{15D47132-7B3C-3118-104F-C6D7CCD8DC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0" y="317500"/>
            <a:ext cx="7747000" cy="116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64" name="Group 4">
            <a:extLst>
              <a:ext uri="{FF2B5EF4-FFF2-40B4-BE49-F238E27FC236}">
                <a16:creationId xmlns:a16="http://schemas.microsoft.com/office/drawing/2014/main" id="{FDAAD753-0F3F-7C80-EACE-F431F08204DE}"/>
              </a:ext>
            </a:extLst>
          </p:cNvPr>
          <p:cNvGrpSpPr>
            <a:grpSpLocks/>
          </p:cNvGrpSpPr>
          <p:nvPr/>
        </p:nvGrpSpPr>
        <p:grpSpPr bwMode="auto">
          <a:xfrm>
            <a:off x="130175" y="15751175"/>
            <a:ext cx="10606088" cy="4125913"/>
            <a:chOff x="130630" y="15598582"/>
            <a:chExt cx="10606315" cy="4126807"/>
          </a:xfrm>
        </p:grpSpPr>
        <p:sp>
          <p:nvSpPr>
            <p:cNvPr id="15365" name="TextBox 5">
              <a:extLst>
                <a:ext uri="{FF2B5EF4-FFF2-40B4-BE49-F238E27FC236}">
                  <a16:creationId xmlns:a16="http://schemas.microsoft.com/office/drawing/2014/main" id="{F9E7A427-6A42-0F82-410E-6AD4EC1C13A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0630" y="15598582"/>
              <a:ext cx="10580915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3600">
                  <a:latin typeface="Arial" panose="020B0604020202020204" pitchFamily="34" charset="0"/>
                  <a:cs typeface="Arial" panose="020B0604020202020204" pitchFamily="34" charset="0"/>
                </a:rPr>
                <a:t>Multi-facility, interdisciplinary team developed:</a:t>
              </a:r>
            </a:p>
          </p:txBody>
        </p:sp>
        <p:sp>
          <p:nvSpPr>
            <p:cNvPr id="7" name="Rounded Rectangle 39">
              <a:extLst>
                <a:ext uri="{FF2B5EF4-FFF2-40B4-BE49-F238E27FC236}">
                  <a16:creationId xmlns:a16="http://schemas.microsoft.com/office/drawing/2014/main" id="{1E87BFCF-75F0-52FB-683C-B9926FB3B4EB}"/>
                </a:ext>
              </a:extLst>
            </p:cNvPr>
            <p:cNvSpPr/>
            <p:nvPr/>
          </p:nvSpPr>
          <p:spPr>
            <a:xfrm>
              <a:off x="156031" y="16421085"/>
              <a:ext cx="3629103" cy="1319499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ounded Rectangle 40">
              <a:extLst>
                <a:ext uri="{FF2B5EF4-FFF2-40B4-BE49-F238E27FC236}">
                  <a16:creationId xmlns:a16="http://schemas.microsoft.com/office/drawing/2014/main" id="{D93D86E9-9E66-82FF-2F00-F39230F0DFEA}"/>
                </a:ext>
              </a:extLst>
            </p:cNvPr>
            <p:cNvSpPr/>
            <p:nvPr/>
          </p:nvSpPr>
          <p:spPr>
            <a:xfrm>
              <a:off x="3607329" y="17411900"/>
              <a:ext cx="3629103" cy="1319499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Rounded Rectangle 41">
              <a:extLst>
                <a:ext uri="{FF2B5EF4-FFF2-40B4-BE49-F238E27FC236}">
                  <a16:creationId xmlns:a16="http://schemas.microsoft.com/office/drawing/2014/main" id="{8C5DB64C-BEDB-ADCA-5270-528D49D1CB8B}"/>
                </a:ext>
              </a:extLst>
            </p:cNvPr>
            <p:cNvSpPr/>
            <p:nvPr/>
          </p:nvSpPr>
          <p:spPr>
            <a:xfrm>
              <a:off x="156031" y="18405890"/>
              <a:ext cx="3629103" cy="1319499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Rounded Rectangle 42">
              <a:extLst>
                <a:ext uri="{FF2B5EF4-FFF2-40B4-BE49-F238E27FC236}">
                  <a16:creationId xmlns:a16="http://schemas.microsoft.com/office/drawing/2014/main" id="{BBEC25B4-381B-574F-56D8-25EB64FDE031}"/>
                </a:ext>
              </a:extLst>
            </p:cNvPr>
            <p:cNvSpPr/>
            <p:nvPr/>
          </p:nvSpPr>
          <p:spPr>
            <a:xfrm>
              <a:off x="7107842" y="18405890"/>
              <a:ext cx="3629103" cy="1319499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Rounded Rectangle 43">
              <a:extLst>
                <a:ext uri="{FF2B5EF4-FFF2-40B4-BE49-F238E27FC236}">
                  <a16:creationId xmlns:a16="http://schemas.microsoft.com/office/drawing/2014/main" id="{DB0C7498-6D26-3271-67F0-FF2E8E14FB8F}"/>
                </a:ext>
              </a:extLst>
            </p:cNvPr>
            <p:cNvSpPr/>
            <p:nvPr/>
          </p:nvSpPr>
          <p:spPr>
            <a:xfrm>
              <a:off x="7082442" y="16432201"/>
              <a:ext cx="3629103" cy="1319498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71" name="TextBox 11">
              <a:extLst>
                <a:ext uri="{FF2B5EF4-FFF2-40B4-BE49-F238E27FC236}">
                  <a16:creationId xmlns:a16="http://schemas.microsoft.com/office/drawing/2014/main" id="{6DE2A38F-058A-6925-3A1C-267F47386CC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9035" y="16787945"/>
              <a:ext cx="3042560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3200">
                  <a:latin typeface="Arial" panose="020B0604020202020204" pitchFamily="34" charset="0"/>
                  <a:cs typeface="Arial" panose="020B0604020202020204" pitchFamily="34" charset="0"/>
                </a:rPr>
                <a:t>Driver diagram</a:t>
              </a:r>
            </a:p>
          </p:txBody>
        </p:sp>
        <p:sp>
          <p:nvSpPr>
            <p:cNvPr id="15372" name="TextBox 12">
              <a:extLst>
                <a:ext uri="{FF2B5EF4-FFF2-40B4-BE49-F238E27FC236}">
                  <a16:creationId xmlns:a16="http://schemas.microsoft.com/office/drawing/2014/main" id="{B0E27D04-B5EA-40DF-C7DE-EC271EEE0CA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17253" y="17532833"/>
              <a:ext cx="3398509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3200">
                  <a:latin typeface="Arial" panose="020B0604020202020204" pitchFamily="34" charset="0"/>
                  <a:cs typeface="Arial" panose="020B0604020202020204" pitchFamily="34" charset="0"/>
                </a:rPr>
                <a:t>System-wide Safe Sleep Policy</a:t>
              </a:r>
            </a:p>
          </p:txBody>
        </p:sp>
        <p:sp>
          <p:nvSpPr>
            <p:cNvPr id="15373" name="TextBox 13">
              <a:extLst>
                <a:ext uri="{FF2B5EF4-FFF2-40B4-BE49-F238E27FC236}">
                  <a16:creationId xmlns:a16="http://schemas.microsoft.com/office/drawing/2014/main" id="{EF678EA1-1633-590C-7ABC-023D80AF7E2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0458" y="18475921"/>
              <a:ext cx="3519714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3200">
                  <a:latin typeface="Arial" panose="020B0604020202020204" pitchFamily="34" charset="0"/>
                  <a:cs typeface="Arial" panose="020B0604020202020204" pitchFamily="34" charset="0"/>
                </a:rPr>
                <a:t>Online education modules for staff</a:t>
              </a:r>
            </a:p>
          </p:txBody>
        </p:sp>
        <p:sp>
          <p:nvSpPr>
            <p:cNvPr id="15374" name="TextBox 14">
              <a:extLst>
                <a:ext uri="{FF2B5EF4-FFF2-40B4-BE49-F238E27FC236}">
                  <a16:creationId xmlns:a16="http://schemas.microsoft.com/office/drawing/2014/main" id="{69E3857B-3369-2992-6DA4-AAB8AD6DC84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75980" y="16552895"/>
              <a:ext cx="3042560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3200">
                  <a:latin typeface="Arial" panose="020B0604020202020204" pitchFamily="34" charset="0"/>
                  <a:cs typeface="Arial" panose="020B0604020202020204" pitchFamily="34" charset="0"/>
                </a:rPr>
                <a:t>Family education</a:t>
              </a:r>
            </a:p>
          </p:txBody>
        </p:sp>
        <p:sp>
          <p:nvSpPr>
            <p:cNvPr id="15375" name="TextBox 15">
              <a:extLst>
                <a:ext uri="{FF2B5EF4-FFF2-40B4-BE49-F238E27FC236}">
                  <a16:creationId xmlns:a16="http://schemas.microsoft.com/office/drawing/2014/main" id="{8B8B1F38-E0B6-35DD-9DCC-462B6F551C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01380" y="18505712"/>
              <a:ext cx="3042560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3200">
                  <a:latin typeface="Arial" panose="020B0604020202020204" pitchFamily="34" charset="0"/>
                  <a:cs typeface="Arial" panose="020B0604020202020204" pitchFamily="34" charset="0"/>
                </a:rPr>
                <a:t>Champion education</a:t>
              </a:r>
            </a:p>
          </p:txBody>
        </p:sp>
      </p:grp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>
            <a:extLst>
              <a:ext uri="{FF2B5EF4-FFF2-40B4-BE49-F238E27FC236}">
                <a16:creationId xmlns:a16="http://schemas.microsoft.com/office/drawing/2014/main" id="{F73FA18D-9830-C6DC-614A-B575295336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4675" y="379413"/>
            <a:ext cx="5962650" cy="548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159946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CB1D4DC5-0ECF-44EF-BC31-228784088D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8950" y="469900"/>
            <a:ext cx="10217150" cy="596900"/>
          </a:xfrm>
        </p:spPr>
        <p:txBody>
          <a:bodyPr/>
          <a:lstStyle/>
          <a:p>
            <a:pPr algn="l" eaLnBrk="1" hangingPunct="1"/>
            <a:r>
              <a:rPr lang="en-US" altLang="en-US" sz="3200"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System Policy</a:t>
            </a:r>
          </a:p>
        </p:txBody>
      </p:sp>
      <p:sp>
        <p:nvSpPr>
          <p:cNvPr id="17411" name="Subtitle 2">
            <a:extLst>
              <a:ext uri="{FF2B5EF4-FFF2-40B4-BE49-F238E27FC236}">
                <a16:creationId xmlns:a16="http://schemas.microsoft.com/office/drawing/2014/main" id="{577A7D20-158D-E504-B7A0-1D2C1C545E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0850" y="1481138"/>
            <a:ext cx="11353800" cy="4111625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</a:rPr>
              <a:t>Purpose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</a:rPr>
              <a:t>Promote and follow safe sleep guidelines as defined by the AAP for infants less than 12 months of age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</a:rPr>
              <a:t>Participate in the campaign to reduce SUID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</a:rPr>
              <a:t>Definition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</a:rPr>
              <a:t>Procedures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</a:rPr>
              <a:t>Establish infant safe sleep readiness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</a:rPr>
              <a:t>Educate parents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</a:rPr>
              <a:t>Model the behaviors</a:t>
            </a:r>
          </a:p>
          <a:p>
            <a:pPr marL="1200150" lvl="2" indent="-28575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</a:rPr>
              <a:t>Newborn Nursery</a:t>
            </a:r>
          </a:p>
          <a:p>
            <a:pPr marL="1200150" lvl="2" indent="-28575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</a:rPr>
              <a:t>NICU/SCN/NAC</a:t>
            </a:r>
          </a:p>
          <a:p>
            <a:pPr marL="1200150" lvl="2" indent="-28575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</a:rPr>
              <a:t>Pediatric floor/unit</a:t>
            </a:r>
          </a:p>
          <a:p>
            <a:pPr marL="342900" indent="-342900" algn="l" eaLnBrk="1" hangingPunct="1">
              <a:buFont typeface="Arial" panose="020B0604020202020204" pitchFamily="34" charset="0"/>
              <a:buChar char="•"/>
            </a:pPr>
            <a:endParaRPr lang="en-US" altLang="en-US">
              <a:latin typeface="Georgia" panose="02040502050405020303" pitchFamily="18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>
            <a:extLst>
              <a:ext uri="{FF2B5EF4-FFF2-40B4-BE49-F238E27FC236}">
                <a16:creationId xmlns:a16="http://schemas.microsoft.com/office/drawing/2014/main" id="{F6113F7C-46E3-B24A-EDB2-D8F5B469E8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8950" y="469900"/>
            <a:ext cx="10217150" cy="596900"/>
          </a:xfrm>
        </p:spPr>
        <p:txBody>
          <a:bodyPr/>
          <a:lstStyle/>
          <a:p>
            <a:pPr algn="l" eaLnBrk="1" hangingPunct="1"/>
            <a:r>
              <a:rPr lang="en-US" altLang="en-US" sz="3200"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Staff Education</a:t>
            </a:r>
          </a:p>
        </p:txBody>
      </p:sp>
      <p:sp>
        <p:nvSpPr>
          <p:cNvPr id="18435" name="Subtitle 2">
            <a:extLst>
              <a:ext uri="{FF2B5EF4-FFF2-40B4-BE49-F238E27FC236}">
                <a16:creationId xmlns:a16="http://schemas.microsoft.com/office/drawing/2014/main" id="{D6E7AABE-0DB4-AC6A-69A2-8C7CF0A8B1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0850" y="1481138"/>
            <a:ext cx="11241088" cy="4111625"/>
          </a:xfrm>
        </p:spPr>
        <p:txBody>
          <a:bodyPr/>
          <a:lstStyle/>
          <a:p>
            <a:pPr marL="342900" indent="-342900" algn="l" eaLnBrk="1" hangingPunct="1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rPr>
              <a:t>Two online Saba modules for all staff</a:t>
            </a:r>
          </a:p>
          <a:p>
            <a:pPr marL="800100" lvl="1" indent="-342900" algn="l" eaLnBrk="1" hangingPunct="1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rPr>
              <a:t>Lesson 1: Adhering to AAP safe sleep recommendations in the hospital</a:t>
            </a:r>
          </a:p>
          <a:p>
            <a:pPr marL="800100" lvl="1" indent="-342900" algn="l" eaLnBrk="1" hangingPunct="1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rPr>
              <a:t>Lesson 2: How to talk to families about safe sleep</a:t>
            </a:r>
          </a:p>
          <a:p>
            <a:pPr marL="342900" indent="-342900" algn="l" eaLnBrk="1" hangingPunct="1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rPr>
              <a:t>Safe Sleep Champion education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</a:rPr>
              <a:t>In-person 3-hour training session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</a:rPr>
              <a:t>12 sessions completed located in each of our hospitals</a:t>
            </a:r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</a:rPr>
              <a:t>Over 650 miles of travel!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rPr>
              <a:t>Online option</a:t>
            </a:r>
          </a:p>
          <a:p>
            <a:pPr marL="342900" indent="-342900" algn="l" eaLnBrk="1" hangingPunct="1">
              <a:buFont typeface="Arial" panose="020B0604020202020204" pitchFamily="34" charset="0"/>
              <a:buChar char="•"/>
            </a:pPr>
            <a:endParaRPr lang="en-US" altLang="en-US">
              <a:latin typeface="Georgia" panose="02040502050405020303" pitchFamily="18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>
            <a:extLst>
              <a:ext uri="{FF2B5EF4-FFF2-40B4-BE49-F238E27FC236}">
                <a16:creationId xmlns:a16="http://schemas.microsoft.com/office/drawing/2014/main" id="{8F5EB566-0446-7391-E38C-13EAB79D93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8950" y="469900"/>
            <a:ext cx="10217150" cy="596900"/>
          </a:xfrm>
        </p:spPr>
        <p:txBody>
          <a:bodyPr/>
          <a:lstStyle/>
          <a:p>
            <a:pPr algn="l" eaLnBrk="1" hangingPunct="1"/>
            <a:r>
              <a:rPr lang="en-US" altLang="en-US" sz="3200"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Improvement Handboo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51791D-45AC-EE1A-D96A-049E99DBAB70}"/>
              </a:ext>
            </a:extLst>
          </p:cNvPr>
          <p:cNvSpPr txBox="1">
            <a:spLocks/>
          </p:cNvSpPr>
          <p:nvPr/>
        </p:nvSpPr>
        <p:spPr bwMode="auto">
          <a:xfrm>
            <a:off x="838200" y="1425575"/>
            <a:ext cx="5475288" cy="4351338"/>
          </a:xfrm>
          <a:prstGeom prst="rect">
            <a:avLst/>
          </a:prstGeom>
          <a:noFill/>
          <a:ln>
            <a:noFill/>
          </a:ln>
        </p:spPr>
        <p:txBody>
          <a:bodyPr>
            <a:norm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dirty="0"/>
              <a:t>Global Outline: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dirty="0"/>
              <a:t>IHI Model for Improvement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dirty="0"/>
              <a:t>Collaborative Roles/Responsibilities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dirty="0"/>
              <a:t>BJC Pediatric Clinical Program QI Collaborative (following IHI Breakthrough Series Model)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dirty="0"/>
              <a:t>Customizing team’s Aim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dirty="0"/>
              <a:t>Measuring Improvement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dirty="0"/>
              <a:t>QI Resources/Tips/Tools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dirty="0"/>
              <a:t>Psychology of Change White Paper</a:t>
            </a:r>
          </a:p>
          <a:p>
            <a:pPr algn="l">
              <a:defRPr/>
            </a:pPr>
            <a:endParaRPr lang="en-US" dirty="0"/>
          </a:p>
        </p:txBody>
      </p:sp>
      <p:pic>
        <p:nvPicPr>
          <p:cNvPr id="19460" name="Picture 3">
            <a:extLst>
              <a:ext uri="{FF2B5EF4-FFF2-40B4-BE49-F238E27FC236}">
                <a16:creationId xmlns:a16="http://schemas.microsoft.com/office/drawing/2014/main" id="{CFCCEE45-39E9-EC27-9DE5-439A94FA01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6275" y="1290638"/>
            <a:ext cx="4624388" cy="409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>
            <a:extLst>
              <a:ext uri="{FF2B5EF4-FFF2-40B4-BE49-F238E27FC236}">
                <a16:creationId xmlns:a16="http://schemas.microsoft.com/office/drawing/2014/main" id="{30CFB0C3-BBEC-7F94-050E-61F503AE62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8950" y="469900"/>
            <a:ext cx="10217150" cy="596900"/>
          </a:xfrm>
        </p:spPr>
        <p:txBody>
          <a:bodyPr/>
          <a:lstStyle/>
          <a:p>
            <a:pPr algn="l" eaLnBrk="1" hangingPunct="1"/>
            <a:r>
              <a:rPr lang="en-US" altLang="en-US" sz="3200"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Family Education</a:t>
            </a:r>
          </a:p>
        </p:txBody>
      </p:sp>
      <p:pic>
        <p:nvPicPr>
          <p:cNvPr id="20483" name="Content Placeholder 3">
            <a:extLst>
              <a:ext uri="{FF2B5EF4-FFF2-40B4-BE49-F238E27FC236}">
                <a16:creationId xmlns:a16="http://schemas.microsoft.com/office/drawing/2014/main" id="{950BAE1B-DA1E-1BBA-CD79-10B6533B2F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400" y="1595438"/>
            <a:ext cx="5607050" cy="366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4" name="Picture 3">
            <a:extLst>
              <a:ext uri="{FF2B5EF4-FFF2-40B4-BE49-F238E27FC236}">
                <a16:creationId xmlns:a16="http://schemas.microsoft.com/office/drawing/2014/main" id="{B716E38A-D2CD-FD73-C749-1146B875B7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463" y="1573213"/>
            <a:ext cx="5672137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723733" y="6421628"/>
            <a:ext cx="27451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SUID</a:t>
            </a:r>
            <a:r>
              <a:rPr sz="1200" spc="-1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ok</a:t>
            </a:r>
            <a:r>
              <a:rPr sz="1200" spc="-1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unty</a:t>
            </a:r>
            <a:r>
              <a:rPr sz="1200" spc="-1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ase</a:t>
            </a:r>
            <a:r>
              <a:rPr sz="1200" spc="-10">
                <a:solidFill>
                  <a:srgbClr val="898989"/>
                </a:solidFill>
                <a:latin typeface="Calibri"/>
                <a:cs typeface="Calibri"/>
              </a:rPr>
              <a:t> Registry: 2019-</a:t>
            </a:r>
            <a:r>
              <a:rPr sz="1200" spc="-20">
                <a:solidFill>
                  <a:srgbClr val="898989"/>
                </a:solidFill>
                <a:latin typeface="Calibri"/>
                <a:cs typeface="Calibri"/>
              </a:rPr>
              <a:t>2022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6641629"/>
            <a:ext cx="12188825" cy="216535"/>
          </a:xfrm>
          <a:custGeom>
            <a:avLst/>
            <a:gdLst/>
            <a:ahLst/>
            <a:cxnLst/>
            <a:rect l="l" t="t" r="r" b="b"/>
            <a:pathLst>
              <a:path w="12188825" h="216534">
                <a:moveTo>
                  <a:pt x="12188825" y="0"/>
                </a:moveTo>
                <a:lnTo>
                  <a:pt x="0" y="0"/>
                </a:lnTo>
                <a:lnTo>
                  <a:pt x="0" y="216369"/>
                </a:lnTo>
                <a:lnTo>
                  <a:pt x="12188825" y="216369"/>
                </a:lnTo>
                <a:lnTo>
                  <a:pt x="12188825" y="0"/>
                </a:lnTo>
                <a:close/>
              </a:path>
            </a:pathLst>
          </a:custGeom>
          <a:solidFill>
            <a:srgbClr val="00B5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006537" y="2355246"/>
            <a:ext cx="4766310" cy="462280"/>
          </a:xfrm>
          <a:prstGeom prst="rect">
            <a:avLst/>
          </a:prstGeom>
          <a:solidFill>
            <a:srgbClr val="C00000"/>
          </a:solidFill>
        </p:spPr>
        <p:txBody>
          <a:bodyPr vert="horz" wrap="square" lIns="0" tIns="19050" rIns="0" bIns="0" rtlCol="0">
            <a:spAutoFit/>
          </a:bodyPr>
          <a:lstStyle/>
          <a:p>
            <a:pPr marL="1005840">
              <a:lnSpc>
                <a:spcPct val="100000"/>
              </a:lnSpc>
              <a:spcBef>
                <a:spcPts val="150"/>
              </a:spcBef>
            </a:pPr>
            <a:r>
              <a:rPr sz="2400" b="1" spc="-35">
                <a:solidFill>
                  <a:srgbClr val="FFFFFF"/>
                </a:solidFill>
                <a:latin typeface="Calibri"/>
                <a:cs typeface="Calibri"/>
              </a:rPr>
              <a:t>Total</a:t>
            </a:r>
            <a:r>
              <a:rPr sz="2400" b="1" spc="-85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400" b="1">
                <a:solidFill>
                  <a:srgbClr val="FFFFFF"/>
                </a:solidFill>
                <a:latin typeface="Calibri"/>
                <a:cs typeface="Calibri"/>
              </a:rPr>
              <a:t>deaths:</a:t>
            </a:r>
            <a:r>
              <a:rPr sz="2400" b="1" spc="-8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2400" b="1" spc="-25">
                <a:solidFill>
                  <a:srgbClr val="FFFFFF"/>
                </a:solidFill>
                <a:latin typeface="Calibri"/>
                <a:cs typeface="Calibri"/>
              </a:rPr>
              <a:t>181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803583" y="1708065"/>
            <a:ext cx="3542665" cy="2721610"/>
          </a:xfrm>
          <a:prstGeom prst="rect">
            <a:avLst/>
          </a:prstGeom>
        </p:spPr>
        <p:txBody>
          <a:bodyPr vert="horz" wrap="square" lIns="0" tIns="21018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655"/>
              </a:spcBef>
            </a:pPr>
            <a:r>
              <a:rPr sz="8800" b="1" spc="-25" dirty="0">
                <a:solidFill>
                  <a:srgbClr val="C00000"/>
                </a:solidFill>
                <a:latin typeface="Calibri"/>
                <a:cs typeface="Calibri"/>
              </a:rPr>
              <a:t>99%</a:t>
            </a:r>
            <a:endParaRPr sz="8800" dirty="0">
              <a:latin typeface="Calibri"/>
              <a:cs typeface="Calibri"/>
            </a:endParaRPr>
          </a:p>
          <a:p>
            <a:pPr marL="12700" marR="5080" algn="just">
              <a:lnSpc>
                <a:spcPct val="100800"/>
              </a:lnSpc>
              <a:spcBef>
                <a:spcPts val="400"/>
              </a:spcBef>
            </a:pPr>
            <a:r>
              <a:rPr sz="2400" b="1" dirty="0">
                <a:solidFill>
                  <a:srgbClr val="C00000"/>
                </a:solidFill>
                <a:latin typeface="Calibri"/>
                <a:cs typeface="Calibri"/>
              </a:rPr>
              <a:t>Nearly</a:t>
            </a:r>
            <a:r>
              <a:rPr sz="2400" b="1" spc="-30" dirty="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C00000"/>
                </a:solidFill>
                <a:latin typeface="Calibri"/>
                <a:cs typeface="Calibri"/>
              </a:rPr>
              <a:t>all</a:t>
            </a:r>
            <a:r>
              <a:rPr sz="2400" b="1" spc="-35" dirty="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C00000"/>
                </a:solidFill>
                <a:latin typeface="Calibri"/>
                <a:cs typeface="Calibri"/>
              </a:rPr>
              <a:t>173</a:t>
            </a:r>
            <a:r>
              <a:rPr sz="2400" b="1" spc="-30" dirty="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2400" b="1" spc="-10" dirty="0">
                <a:solidFill>
                  <a:srgbClr val="C00000"/>
                </a:solidFill>
                <a:latin typeface="Calibri"/>
                <a:cs typeface="Calibri"/>
              </a:rPr>
              <a:t>sleep-related </a:t>
            </a:r>
            <a:r>
              <a:rPr sz="2400" b="1" dirty="0">
                <a:solidFill>
                  <a:srgbClr val="C00000"/>
                </a:solidFill>
                <a:latin typeface="Calibri"/>
                <a:cs typeface="Calibri"/>
              </a:rPr>
              <a:t>SUID</a:t>
            </a:r>
            <a:r>
              <a:rPr sz="2400" b="1" spc="-35" dirty="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C00000"/>
                </a:solidFill>
                <a:latin typeface="Calibri"/>
                <a:cs typeface="Calibri"/>
              </a:rPr>
              <a:t>occurred</a:t>
            </a:r>
            <a:r>
              <a:rPr sz="2400" b="1" spc="-40" dirty="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C00000"/>
                </a:solidFill>
                <a:latin typeface="Calibri"/>
                <a:cs typeface="Calibri"/>
              </a:rPr>
              <a:t>in</a:t>
            </a:r>
            <a:r>
              <a:rPr sz="2400" b="1" spc="-40" dirty="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2400" b="1" dirty="0">
                <a:solidFill>
                  <a:srgbClr val="C00000"/>
                </a:solidFill>
                <a:latin typeface="Calibri"/>
                <a:cs typeface="Calibri"/>
              </a:rPr>
              <a:t>an</a:t>
            </a:r>
            <a:r>
              <a:rPr sz="2400" b="1" spc="-40" dirty="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2400" b="1" spc="-10" dirty="0">
                <a:solidFill>
                  <a:srgbClr val="C00000"/>
                </a:solidFill>
                <a:latin typeface="Calibri"/>
                <a:cs typeface="Calibri"/>
              </a:rPr>
              <a:t>unsafe </a:t>
            </a:r>
            <a:r>
              <a:rPr sz="2400" b="1" dirty="0">
                <a:solidFill>
                  <a:srgbClr val="C00000"/>
                </a:solidFill>
                <a:latin typeface="Calibri"/>
                <a:cs typeface="Calibri"/>
              </a:rPr>
              <a:t>sleep</a:t>
            </a:r>
            <a:r>
              <a:rPr sz="2400" b="1" spc="-55" dirty="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2400" b="1" spc="-10" dirty="0">
                <a:solidFill>
                  <a:srgbClr val="C00000"/>
                </a:solidFill>
                <a:latin typeface="Calibri"/>
                <a:cs typeface="Calibri"/>
              </a:rPr>
              <a:t>environment.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999677" y="3327907"/>
            <a:ext cx="3222625" cy="101536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>
                <a:solidFill>
                  <a:srgbClr val="C00000"/>
                </a:solidFill>
                <a:latin typeface="Calibri"/>
                <a:cs typeface="Calibri"/>
              </a:rPr>
              <a:t>Sleep</a:t>
            </a:r>
            <a:r>
              <a:rPr sz="2400" b="1" spc="-7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2400" b="1" spc="-10">
                <a:solidFill>
                  <a:srgbClr val="C00000"/>
                </a:solidFill>
                <a:latin typeface="Calibri"/>
                <a:cs typeface="Calibri"/>
              </a:rPr>
              <a:t>related</a:t>
            </a:r>
            <a:r>
              <a:rPr sz="2400" b="1" spc="-65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2400" b="1">
                <a:solidFill>
                  <a:srgbClr val="C00000"/>
                </a:solidFill>
                <a:latin typeface="Calibri"/>
                <a:cs typeface="Calibri"/>
              </a:rPr>
              <a:t>deaths</a:t>
            </a:r>
            <a:r>
              <a:rPr sz="2400">
                <a:solidFill>
                  <a:srgbClr val="C00000"/>
                </a:solidFill>
                <a:latin typeface="Calibri"/>
                <a:cs typeface="Calibri"/>
              </a:rPr>
              <a:t>:</a:t>
            </a:r>
            <a:r>
              <a:rPr sz="2400" spc="-65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2400" b="1" spc="-25">
                <a:solidFill>
                  <a:srgbClr val="C00000"/>
                </a:solidFill>
                <a:latin typeface="Calibri"/>
                <a:cs typeface="Calibri"/>
              </a:rPr>
              <a:t>173</a:t>
            </a:r>
            <a:endParaRPr sz="2400">
              <a:latin typeface="Calibri"/>
              <a:cs typeface="Calibri"/>
            </a:endParaRPr>
          </a:p>
          <a:p>
            <a:pPr marL="297815" indent="-285115">
              <a:lnSpc>
                <a:spcPct val="100000"/>
              </a:lnSpc>
              <a:spcBef>
                <a:spcPts val="110"/>
              </a:spcBef>
              <a:buFont typeface="Arial"/>
              <a:buChar char="•"/>
              <a:tabLst>
                <a:tab pos="297815" algn="l"/>
              </a:tabLst>
            </a:pPr>
            <a:r>
              <a:rPr sz="2000" spc="-10">
                <a:latin typeface="Calibri"/>
                <a:cs typeface="Calibri"/>
              </a:rPr>
              <a:t>Suffocation:</a:t>
            </a:r>
            <a:r>
              <a:rPr sz="2000" spc="-60">
                <a:latin typeface="Calibri"/>
                <a:cs typeface="Calibri"/>
              </a:rPr>
              <a:t> </a:t>
            </a:r>
            <a:r>
              <a:rPr sz="2000" b="1" spc="-25">
                <a:latin typeface="Calibri"/>
                <a:cs typeface="Calibri"/>
              </a:rPr>
              <a:t>45</a:t>
            </a:r>
            <a:endParaRPr sz="2000">
              <a:latin typeface="Calibri"/>
              <a:cs typeface="Calibri"/>
            </a:endParaRPr>
          </a:p>
          <a:p>
            <a:pPr marL="297815" indent="-285115">
              <a:lnSpc>
                <a:spcPct val="100000"/>
              </a:lnSpc>
              <a:buFont typeface="Arial"/>
              <a:buChar char="•"/>
              <a:tabLst>
                <a:tab pos="297815" algn="l"/>
              </a:tabLst>
            </a:pPr>
            <a:r>
              <a:rPr sz="2000" spc="-10">
                <a:latin typeface="Calibri"/>
                <a:cs typeface="Calibri"/>
              </a:rPr>
              <a:t>Unexplained:</a:t>
            </a:r>
            <a:r>
              <a:rPr sz="2000" spc="-25">
                <a:latin typeface="Calibri"/>
                <a:cs typeface="Calibri"/>
              </a:rPr>
              <a:t> </a:t>
            </a:r>
            <a:r>
              <a:rPr sz="2000" b="1" spc="-25">
                <a:latin typeface="Calibri"/>
                <a:cs typeface="Calibri"/>
              </a:rPr>
              <a:t>128</a:t>
            </a:r>
            <a:endParaRPr sz="20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>
            <a:extLst>
              <a:ext uri="{FF2B5EF4-FFF2-40B4-BE49-F238E27FC236}">
                <a16:creationId xmlns:a16="http://schemas.microsoft.com/office/drawing/2014/main" id="{21610746-DFE3-1D49-495A-BE27D8375E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8950" y="469900"/>
            <a:ext cx="10217150" cy="596900"/>
          </a:xfrm>
        </p:spPr>
        <p:txBody>
          <a:bodyPr/>
          <a:lstStyle/>
          <a:p>
            <a:pPr algn="l" eaLnBrk="1" hangingPunct="1"/>
            <a:r>
              <a:rPr lang="en-US" altLang="en-US" sz="3200"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Family Education</a:t>
            </a:r>
          </a:p>
        </p:txBody>
      </p:sp>
      <p:pic>
        <p:nvPicPr>
          <p:cNvPr id="21507" name="Content Placeholder 3">
            <a:extLst>
              <a:ext uri="{FF2B5EF4-FFF2-40B4-BE49-F238E27FC236}">
                <a16:creationId xmlns:a16="http://schemas.microsoft.com/office/drawing/2014/main" id="{9A6DA639-7F33-1E1D-ED69-6427226488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1025" y="1114425"/>
            <a:ext cx="3911600" cy="4992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08" name="Picture 3">
            <a:extLst>
              <a:ext uri="{FF2B5EF4-FFF2-40B4-BE49-F238E27FC236}">
                <a16:creationId xmlns:a16="http://schemas.microsoft.com/office/drawing/2014/main" id="{11550056-5DC6-1728-586B-A710D85522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3513" y="1109663"/>
            <a:ext cx="3911600" cy="4960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299299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Content Placeholder 3">
            <a:extLst>
              <a:ext uri="{FF2B5EF4-FFF2-40B4-BE49-F238E27FC236}">
                <a16:creationId xmlns:a16="http://schemas.microsoft.com/office/drawing/2014/main" id="{56726644-DE00-698A-EDE4-8C4743A76E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9525" y="192088"/>
            <a:ext cx="4552950" cy="5907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1" name="Title 1">
            <a:extLst>
              <a:ext uri="{FF2B5EF4-FFF2-40B4-BE49-F238E27FC236}">
                <a16:creationId xmlns:a16="http://schemas.microsoft.com/office/drawing/2014/main" id="{CA28C8A7-4EFA-568D-C01C-39A78C6B4A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8950" y="469900"/>
            <a:ext cx="10217150" cy="596900"/>
          </a:xfrm>
        </p:spPr>
        <p:txBody>
          <a:bodyPr/>
          <a:lstStyle/>
          <a:p>
            <a:pPr algn="l" eaLnBrk="1" hangingPunct="1"/>
            <a:r>
              <a:rPr lang="en-US" altLang="en-US" sz="3200"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Family Education</a:t>
            </a:r>
          </a:p>
        </p:txBody>
      </p:sp>
    </p:spTree>
    <p:extLst>
      <p:ext uri="{BB962C8B-B14F-4D97-AF65-F5344CB8AC3E}">
        <p14:creationId xmlns:p14="http://schemas.microsoft.com/office/powerpoint/2010/main" val="173133907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Title 1">
            <a:extLst>
              <a:ext uri="{FF2B5EF4-FFF2-40B4-BE49-F238E27FC236}">
                <a16:creationId xmlns:a16="http://schemas.microsoft.com/office/drawing/2014/main" id="{8A12BDB8-01DC-E4F6-72BF-6F2CD79548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8950" y="469900"/>
            <a:ext cx="10217150" cy="596900"/>
          </a:xfrm>
        </p:spPr>
        <p:txBody>
          <a:bodyPr/>
          <a:lstStyle/>
          <a:p>
            <a:pPr algn="l" eaLnBrk="1" hangingPunct="1"/>
            <a:r>
              <a:rPr lang="en-US" altLang="en-US" sz="3200"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Safe Sleep Collaborative</a:t>
            </a:r>
          </a:p>
        </p:txBody>
      </p:sp>
      <p:sp>
        <p:nvSpPr>
          <p:cNvPr id="23556" name="Subtitle 2">
            <a:extLst>
              <a:ext uri="{FF2B5EF4-FFF2-40B4-BE49-F238E27FC236}">
                <a16:creationId xmlns:a16="http://schemas.microsoft.com/office/drawing/2014/main" id="{293B10B8-F018-09F9-2721-A21386A06D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0850" y="1481138"/>
            <a:ext cx="11241088" cy="4111625"/>
          </a:xfrm>
        </p:spPr>
        <p:txBody>
          <a:bodyPr/>
          <a:lstStyle/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  <a:cs typeface="Arial" panose="020B0604020202020204" pitchFamily="34" charset="0"/>
              </a:rPr>
              <a:t>The BJC Pediatric Quality Improvement (QI) Collaborative infrastructure used the IHI Breakthrough Series model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  <a:cs typeface="Arial" panose="020B0604020202020204" pitchFamily="34" charset="0"/>
              </a:rPr>
              <a:t>Each local HSO used the IHI Model for Improvement to guide frequent plan-do-study-act (PDSA) cycles 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  <a:cs typeface="Arial" panose="020B0604020202020204" pitchFamily="34" charset="0"/>
              </a:rPr>
              <a:t>Audits performed to monitor SSP compliance using web-based application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  <a:cs typeface="Arial" panose="020B0604020202020204" pitchFamily="34" charset="0"/>
              </a:rPr>
              <a:t>System and hospital compliance data distributed weekly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  <a:cs typeface="Arial" panose="020B0604020202020204" pitchFamily="34" charset="0"/>
              </a:rPr>
              <a:t>Monthly virtual learning sessions were held to: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  <a:cs typeface="Arial" panose="020B0604020202020204" pitchFamily="34" charset="0"/>
              </a:rPr>
              <a:t>Share data, local SMART Aim, PDSAs, successes and barriers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altLang="en-US" b="1">
                <a:latin typeface="Georgia" panose="02040502050405020303" pitchFamily="18" charset="0"/>
                <a:cs typeface="Arial" panose="020B0604020202020204" pitchFamily="34" charset="0"/>
              </a:rPr>
              <a:t>Develop family and communication skills</a:t>
            </a:r>
          </a:p>
          <a:p>
            <a:pPr marL="914400" lvl="1" indent="-4572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  <a:cs typeface="Arial" panose="020B0604020202020204" pitchFamily="34" charset="0"/>
              </a:rPr>
              <a:t>Learn QI tools essential to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248135392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>
            <a:extLst>
              <a:ext uri="{FF2B5EF4-FFF2-40B4-BE49-F238E27FC236}">
                <a16:creationId xmlns:a16="http://schemas.microsoft.com/office/drawing/2014/main" id="{10F38836-7B22-CE74-C4A3-5AF1BBC20A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1888" y="257175"/>
            <a:ext cx="4678362" cy="581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79" name="Title 1">
            <a:extLst>
              <a:ext uri="{FF2B5EF4-FFF2-40B4-BE49-F238E27FC236}">
                <a16:creationId xmlns:a16="http://schemas.microsoft.com/office/drawing/2014/main" id="{A6224BE0-38DD-BC39-19E6-3F248E3F82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8950" y="469900"/>
            <a:ext cx="10217150" cy="596900"/>
          </a:xfrm>
        </p:spPr>
        <p:txBody>
          <a:bodyPr/>
          <a:lstStyle/>
          <a:p>
            <a:pPr algn="l" eaLnBrk="1" hangingPunct="1"/>
            <a:r>
              <a:rPr lang="en-US" altLang="en-US" sz="3200"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105466097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3">
            <a:extLst>
              <a:ext uri="{FF2B5EF4-FFF2-40B4-BE49-F238E27FC236}">
                <a16:creationId xmlns:a16="http://schemas.microsoft.com/office/drawing/2014/main" id="{C275D066-CE66-BCA7-0430-615BB842C4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75" y="0"/>
            <a:ext cx="7959725" cy="6024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3" name="TextBox 5">
            <a:extLst>
              <a:ext uri="{FF2B5EF4-FFF2-40B4-BE49-F238E27FC236}">
                <a16:creationId xmlns:a16="http://schemas.microsoft.com/office/drawing/2014/main" id="{DF02A354-5B71-2D6A-26C7-8D44D339C3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72488" y="2043113"/>
            <a:ext cx="3411537" cy="1938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400">
                <a:latin typeface="Georgia" panose="02040502050405020303" pitchFamily="18" charset="0"/>
              </a:rPr>
              <a:t>Project Initiation: August 2020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2400">
              <a:latin typeface="Georgia" panose="02040502050405020303" pitchFamily="18" charset="0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400">
                <a:latin typeface="Georgia" panose="02040502050405020303" pitchFamily="18" charset="0"/>
              </a:rPr>
              <a:t>Project Close: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400">
                <a:latin typeface="Georgia" panose="02040502050405020303" pitchFamily="18" charset="0"/>
              </a:rPr>
              <a:t>October 2022</a:t>
            </a:r>
          </a:p>
        </p:txBody>
      </p:sp>
    </p:spTree>
    <p:extLst>
      <p:ext uri="{BB962C8B-B14F-4D97-AF65-F5344CB8AC3E}">
        <p14:creationId xmlns:p14="http://schemas.microsoft.com/office/powerpoint/2010/main" val="339337946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3">
            <a:extLst>
              <a:ext uri="{FF2B5EF4-FFF2-40B4-BE49-F238E27FC236}">
                <a16:creationId xmlns:a16="http://schemas.microsoft.com/office/drawing/2014/main" id="{6F0FAADC-8F26-8E99-79E9-F4BA14D236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1700" y="85725"/>
            <a:ext cx="7848600" cy="588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658944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8A8D9FA9-6A2C-5CF6-97A7-765A8299EA52}"/>
              </a:ext>
            </a:extLst>
          </p:cNvPr>
          <p:cNvSpPr txBox="1"/>
          <p:nvPr/>
        </p:nvSpPr>
        <p:spPr>
          <a:xfrm>
            <a:off x="9050338" y="1978025"/>
            <a:ext cx="2819400" cy="3694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dirty="0"/>
              <a:t>Gold Certification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Alton Memorial Hospital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Barnes-Jewish Hospital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Memorial Hospital Shiloh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Missouri Baptist Medical Center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Parkland Hospital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Progress West Hospital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St. Louis Children’s Hospital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Bronze Certification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Missouri Baptist Sullivan</a:t>
            </a:r>
          </a:p>
        </p:txBody>
      </p:sp>
      <p:pic>
        <p:nvPicPr>
          <p:cNvPr id="27651" name="Picture 8">
            <a:extLst>
              <a:ext uri="{FF2B5EF4-FFF2-40B4-BE49-F238E27FC236}">
                <a16:creationId xmlns:a16="http://schemas.microsoft.com/office/drawing/2014/main" id="{F9A2C70D-C084-B212-6204-BA1C6CA0E4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263" y="898525"/>
            <a:ext cx="8667750" cy="5162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2" name="Picture 4">
            <a:extLst>
              <a:ext uri="{FF2B5EF4-FFF2-40B4-BE49-F238E27FC236}">
                <a16:creationId xmlns:a16="http://schemas.microsoft.com/office/drawing/2014/main" id="{FD9089A0-7B77-49B1-E8D4-7D9E2A9857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0" y="193675"/>
            <a:ext cx="7747000" cy="1163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973680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>
            <a:extLst>
              <a:ext uri="{FF2B5EF4-FFF2-40B4-BE49-F238E27FC236}">
                <a16:creationId xmlns:a16="http://schemas.microsoft.com/office/drawing/2014/main" id="{6E9E32FF-81EE-06CB-9A12-A43F30184A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8950" y="469900"/>
            <a:ext cx="10217150" cy="596900"/>
          </a:xfrm>
        </p:spPr>
        <p:txBody>
          <a:bodyPr/>
          <a:lstStyle/>
          <a:p>
            <a:pPr algn="l" eaLnBrk="1" hangingPunct="1"/>
            <a:r>
              <a:rPr lang="en-US" altLang="en-US" sz="3200"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Considerations</a:t>
            </a:r>
          </a:p>
        </p:txBody>
      </p:sp>
      <p:sp>
        <p:nvSpPr>
          <p:cNvPr id="28675" name="Subtitle 2">
            <a:extLst>
              <a:ext uri="{FF2B5EF4-FFF2-40B4-BE49-F238E27FC236}">
                <a16:creationId xmlns:a16="http://schemas.microsoft.com/office/drawing/2014/main" id="{EA545379-66D9-13C3-8B35-8A21FF7F79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0850" y="1481138"/>
            <a:ext cx="11261725" cy="4111625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</a:rPr>
              <a:t>This is not easy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</a:rPr>
              <a:t>This requires an interdisciplinary collaborative and supportive approach (not only the responsibility of the bedside nurse)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</a:rPr>
              <a:t>Leadership engagement is key!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altLang="en-US">
                <a:latin typeface="Georgia" panose="02040502050405020303" pitchFamily="18" charset="0"/>
              </a:rPr>
              <a:t>Partnering with families and having discussions on admission and frequently during their stay is critical </a:t>
            </a:r>
          </a:p>
          <a:p>
            <a:pPr marL="342900" indent="-342900" algn="l" eaLnBrk="1" hangingPunct="1">
              <a:buFont typeface="Arial" panose="020B0604020202020204" pitchFamily="34" charset="0"/>
              <a:buChar char="•"/>
            </a:pPr>
            <a:endParaRPr lang="en-US" altLang="en-US">
              <a:latin typeface="Georgia" panose="02040502050405020303" pitchFamily="18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833998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>
            <a:extLst>
              <a:ext uri="{FF2B5EF4-FFF2-40B4-BE49-F238E27FC236}">
                <a16:creationId xmlns:a16="http://schemas.microsoft.com/office/drawing/2014/main" id="{DE5A501B-0458-A9AF-1B33-DA482CDBF4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7425" y="469900"/>
            <a:ext cx="10217150" cy="596900"/>
          </a:xfrm>
        </p:spPr>
        <p:txBody>
          <a:bodyPr/>
          <a:lstStyle/>
          <a:p>
            <a:pPr eaLnBrk="1" hangingPunct="1"/>
            <a:r>
              <a:rPr lang="en-US" altLang="en-US" sz="3600">
                <a:latin typeface="Georgia" panose="02040502050405020303" pitchFamily="18" charset="0"/>
                <a:ea typeface="Georgia" panose="02040502050405020303" pitchFamily="18" charset="0"/>
                <a:cs typeface="Georgia" panose="02040502050405020303" pitchFamily="18" charset="0"/>
              </a:rPr>
              <a:t>Questions???</a:t>
            </a:r>
          </a:p>
        </p:txBody>
      </p:sp>
      <p:sp>
        <p:nvSpPr>
          <p:cNvPr id="29699" name="Subtitle 2">
            <a:extLst>
              <a:ext uri="{FF2B5EF4-FFF2-40B4-BE49-F238E27FC236}">
                <a16:creationId xmlns:a16="http://schemas.microsoft.com/office/drawing/2014/main" id="{01C6D46B-CD9E-0BD8-04FD-E2E49F6E72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77963" y="5232400"/>
            <a:ext cx="9236075" cy="722313"/>
          </a:xfrm>
        </p:spPr>
        <p:txBody>
          <a:bodyPr/>
          <a:lstStyle/>
          <a:p>
            <a:pPr eaLnBrk="1" hangingPunct="1"/>
            <a:r>
              <a:rPr lang="en-US" altLang="en-US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el free to reach out! – bryannecolvin@wustl.edu</a:t>
            </a:r>
          </a:p>
        </p:txBody>
      </p:sp>
    </p:spTree>
    <p:extLst>
      <p:ext uri="{BB962C8B-B14F-4D97-AF65-F5344CB8AC3E}">
        <p14:creationId xmlns:p14="http://schemas.microsoft.com/office/powerpoint/2010/main" val="169681914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C1DD1A8A-57D5-4A81-AD04-532B043C56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Question mark on green pastel background">
            <a:extLst>
              <a:ext uri="{FF2B5EF4-FFF2-40B4-BE49-F238E27FC236}">
                <a16:creationId xmlns:a16="http://schemas.microsoft.com/office/drawing/2014/main" id="{DCC75671-06E2-63C4-C636-FAE38C7C363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021" r="-2" b="19978"/>
          <a:stretch/>
        </p:blipFill>
        <p:spPr>
          <a:xfrm>
            <a:off x="-3047" y="10"/>
            <a:ext cx="12191999" cy="685799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07891EC-4501-44ED-A8C8-B11B6DB767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207602"/>
            <a:ext cx="12191999" cy="3162146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25000">
                <a:srgbClr val="000000">
                  <a:alpha val="15000"/>
                </a:srgbClr>
              </a:gs>
              <a:gs pos="75000">
                <a:srgbClr val="000000">
                  <a:alpha val="15000"/>
                </a:srgbClr>
              </a:gs>
              <a:gs pos="50000">
                <a:srgbClr val="000000">
                  <a:alpha val="3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F028EA-56C1-ABB7-4304-0B82870561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22427" y="1221000"/>
            <a:ext cx="10058400" cy="357477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5200" dirty="0">
                <a:solidFill>
                  <a:srgbClr val="FFFFFF"/>
                </a:solidFill>
                <a:ea typeface="+mj-ea"/>
                <a:cs typeface="+mj-cs"/>
              </a:rPr>
              <a:t>Panel Discussion </a:t>
            </a:r>
            <a:br>
              <a:rPr lang="en-US" sz="5200" dirty="0">
                <a:solidFill>
                  <a:srgbClr val="FFFFFF"/>
                </a:solidFill>
                <a:ea typeface="+mj-ea"/>
                <a:cs typeface="+mj-cs"/>
              </a:rPr>
            </a:br>
            <a:r>
              <a:rPr lang="en-US" sz="5200" dirty="0">
                <a:solidFill>
                  <a:srgbClr val="FFFFFF"/>
                </a:solidFill>
                <a:ea typeface="+mj-ea"/>
                <a:cs typeface="+mj-cs"/>
              </a:rPr>
              <a:t>Q &amp; A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34D473-E69D-860D-0C71-49BE5E4C97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kern="1200" dirty="0">
                <a:solidFill>
                  <a:srgbClr val="FFFFFF"/>
                </a:solidFill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571A7A-4A3E-6924-6FAC-91D37E4F29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97033E4B-E3EB-3D46-B2D8-3159663620FA}" type="slidenum">
              <a:rPr lang="en-US">
                <a:solidFill>
                  <a:srgbClr val="FFFFFF"/>
                </a:solidFill>
                <a:latin typeface="Calibri" panose="020F0502020204030204"/>
              </a:rPr>
              <a:pPr>
                <a:spcAft>
                  <a:spcPts val="600"/>
                </a:spcAft>
                <a:defRPr/>
              </a:pPr>
              <a:t>69</a:t>
            </a:fld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129287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122513" y="6421628"/>
            <a:ext cx="194691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SUID</a:t>
            </a:r>
            <a:r>
              <a:rPr sz="1200" spc="-3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ok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unty</a:t>
            </a:r>
            <a:r>
              <a:rPr sz="1200" spc="-4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Report</a:t>
            </a:r>
            <a:r>
              <a:rPr sz="1200" spc="-3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 spc="-20">
                <a:solidFill>
                  <a:srgbClr val="898989"/>
                </a:solidFill>
                <a:latin typeface="Calibri"/>
                <a:cs typeface="Calibri"/>
              </a:rPr>
              <a:t>2019</a:t>
            </a:r>
            <a:endParaRPr sz="1200">
              <a:latin typeface="Calibri"/>
              <a:cs typeface="Calibri"/>
            </a:endParaRP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778813" y="618185"/>
            <a:ext cx="6710630" cy="5487320"/>
          </a:xfrm>
          <a:prstGeom prst="rect">
            <a:avLst/>
          </a:prstGeom>
        </p:spPr>
      </p:pic>
      <p:sp>
        <p:nvSpPr>
          <p:cNvPr id="4" name="object 4"/>
          <p:cNvSpPr/>
          <p:nvPr/>
        </p:nvSpPr>
        <p:spPr>
          <a:xfrm>
            <a:off x="0" y="6641629"/>
            <a:ext cx="12188825" cy="216535"/>
          </a:xfrm>
          <a:custGeom>
            <a:avLst/>
            <a:gdLst/>
            <a:ahLst/>
            <a:cxnLst/>
            <a:rect l="l" t="t" r="r" b="b"/>
            <a:pathLst>
              <a:path w="12188825" h="216534">
                <a:moveTo>
                  <a:pt x="12188825" y="0"/>
                </a:moveTo>
                <a:lnTo>
                  <a:pt x="0" y="0"/>
                </a:lnTo>
                <a:lnTo>
                  <a:pt x="0" y="216369"/>
                </a:lnTo>
                <a:lnTo>
                  <a:pt x="12188825" y="216369"/>
                </a:lnTo>
                <a:lnTo>
                  <a:pt x="12188825" y="0"/>
                </a:lnTo>
                <a:close/>
              </a:path>
            </a:pathLst>
          </a:custGeom>
          <a:solidFill>
            <a:srgbClr val="00B580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943919" y="6421628"/>
            <a:ext cx="23044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SUID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ok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unty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Report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 spc="-10">
                <a:solidFill>
                  <a:srgbClr val="898989"/>
                </a:solidFill>
                <a:latin typeface="Calibri"/>
                <a:cs typeface="Calibri"/>
              </a:rPr>
              <a:t>2020-</a:t>
            </a:r>
            <a:r>
              <a:rPr sz="1200" spc="-20">
                <a:solidFill>
                  <a:srgbClr val="898989"/>
                </a:solidFill>
                <a:latin typeface="Calibri"/>
                <a:cs typeface="Calibri"/>
              </a:rPr>
              <a:t>2021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6641629"/>
            <a:ext cx="12188825" cy="216535"/>
          </a:xfrm>
          <a:custGeom>
            <a:avLst/>
            <a:gdLst/>
            <a:ahLst/>
            <a:cxnLst/>
            <a:rect l="l" t="t" r="r" b="b"/>
            <a:pathLst>
              <a:path w="12188825" h="216534">
                <a:moveTo>
                  <a:pt x="12188825" y="0"/>
                </a:moveTo>
                <a:lnTo>
                  <a:pt x="0" y="0"/>
                </a:lnTo>
                <a:lnTo>
                  <a:pt x="0" y="216369"/>
                </a:lnTo>
                <a:lnTo>
                  <a:pt x="12188825" y="216369"/>
                </a:lnTo>
                <a:lnTo>
                  <a:pt x="12188825" y="0"/>
                </a:lnTo>
                <a:close/>
              </a:path>
            </a:pathLst>
          </a:custGeom>
          <a:solidFill>
            <a:srgbClr val="00B58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651045" y="491176"/>
            <a:ext cx="8689815" cy="5414101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744370" y="6421628"/>
            <a:ext cx="270383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SUID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ok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ounty</a:t>
            </a:r>
            <a:r>
              <a:rPr sz="1200" spc="-30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Case</a:t>
            </a:r>
            <a:r>
              <a:rPr sz="1200" spc="-2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>
                <a:solidFill>
                  <a:srgbClr val="898989"/>
                </a:solidFill>
                <a:latin typeface="Calibri"/>
                <a:cs typeface="Calibri"/>
              </a:rPr>
              <a:t>Registry</a:t>
            </a:r>
            <a:r>
              <a:rPr sz="1200" spc="-35">
                <a:solidFill>
                  <a:srgbClr val="898989"/>
                </a:solidFill>
                <a:latin typeface="Calibri"/>
                <a:cs typeface="Calibri"/>
              </a:rPr>
              <a:t> </a:t>
            </a:r>
            <a:r>
              <a:rPr sz="1200" spc="-10">
                <a:solidFill>
                  <a:srgbClr val="898989"/>
                </a:solidFill>
                <a:latin typeface="Calibri"/>
                <a:cs typeface="Calibri"/>
              </a:rPr>
              <a:t>2019-</a:t>
            </a:r>
            <a:r>
              <a:rPr sz="1200" spc="-20">
                <a:solidFill>
                  <a:srgbClr val="898989"/>
                </a:solidFill>
                <a:latin typeface="Calibri"/>
                <a:cs typeface="Calibri"/>
              </a:rPr>
              <a:t>2022</a:t>
            </a:r>
            <a:endParaRPr sz="1200">
              <a:latin typeface="Calibri"/>
              <a:cs typeface="Calibri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0" y="5583335"/>
            <a:ext cx="12188825" cy="1275080"/>
            <a:chOff x="0" y="5583335"/>
            <a:chExt cx="12188825" cy="1275080"/>
          </a:xfrm>
        </p:grpSpPr>
        <p:sp>
          <p:nvSpPr>
            <p:cNvPr id="4" name="object 4"/>
            <p:cNvSpPr/>
            <p:nvPr/>
          </p:nvSpPr>
          <p:spPr>
            <a:xfrm>
              <a:off x="0" y="6641629"/>
              <a:ext cx="12188825" cy="216535"/>
            </a:xfrm>
            <a:custGeom>
              <a:avLst/>
              <a:gdLst/>
              <a:ahLst/>
              <a:cxnLst/>
              <a:rect l="l" t="t" r="r" b="b"/>
              <a:pathLst>
                <a:path w="12188825" h="216534">
                  <a:moveTo>
                    <a:pt x="12188825" y="0"/>
                  </a:moveTo>
                  <a:lnTo>
                    <a:pt x="0" y="0"/>
                  </a:lnTo>
                  <a:lnTo>
                    <a:pt x="0" y="216369"/>
                  </a:lnTo>
                  <a:lnTo>
                    <a:pt x="12188825" y="216369"/>
                  </a:lnTo>
                  <a:lnTo>
                    <a:pt x="12188825" y="0"/>
                  </a:lnTo>
                  <a:close/>
                </a:path>
              </a:pathLst>
            </a:custGeom>
            <a:solidFill>
              <a:srgbClr val="00B5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1186485" y="5583335"/>
              <a:ext cx="2540000" cy="1016000"/>
            </a:xfrm>
            <a:custGeom>
              <a:avLst/>
              <a:gdLst/>
              <a:ahLst/>
              <a:cxnLst/>
              <a:rect l="l" t="t" r="r" b="b"/>
              <a:pathLst>
                <a:path w="2540000" h="1016000">
                  <a:moveTo>
                    <a:pt x="2540000" y="0"/>
                  </a:moveTo>
                  <a:lnTo>
                    <a:pt x="0" y="0"/>
                  </a:lnTo>
                  <a:lnTo>
                    <a:pt x="0" y="1015662"/>
                  </a:lnTo>
                  <a:lnTo>
                    <a:pt x="2540000" y="1015662"/>
                  </a:lnTo>
                  <a:lnTo>
                    <a:pt x="25400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540422" y="472947"/>
            <a:ext cx="5549265" cy="4521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800" b="1" spc="-10">
                <a:solidFill>
                  <a:srgbClr val="006232"/>
                </a:solidFill>
                <a:latin typeface="Arial"/>
                <a:cs typeface="Arial"/>
              </a:rPr>
              <a:t>Sleep-</a:t>
            </a:r>
            <a:r>
              <a:rPr sz="2800" b="1">
                <a:solidFill>
                  <a:srgbClr val="006232"/>
                </a:solidFill>
                <a:latin typeface="Arial"/>
                <a:cs typeface="Arial"/>
              </a:rPr>
              <a:t>related</a:t>
            </a:r>
            <a:r>
              <a:rPr sz="2800" b="1" spc="-85">
                <a:solidFill>
                  <a:srgbClr val="006232"/>
                </a:solidFill>
                <a:latin typeface="Arial"/>
                <a:cs typeface="Arial"/>
              </a:rPr>
              <a:t> </a:t>
            </a:r>
            <a:r>
              <a:rPr sz="2800" b="1">
                <a:solidFill>
                  <a:srgbClr val="006232"/>
                </a:solidFill>
                <a:latin typeface="Arial"/>
                <a:cs typeface="Arial"/>
              </a:rPr>
              <a:t>Infant</a:t>
            </a:r>
            <a:r>
              <a:rPr sz="2800" b="1" spc="-80">
                <a:solidFill>
                  <a:srgbClr val="006232"/>
                </a:solidFill>
                <a:latin typeface="Arial"/>
                <a:cs typeface="Arial"/>
              </a:rPr>
              <a:t> </a:t>
            </a:r>
            <a:r>
              <a:rPr sz="2800" b="1">
                <a:solidFill>
                  <a:srgbClr val="006232"/>
                </a:solidFill>
                <a:latin typeface="Arial"/>
                <a:cs typeface="Arial"/>
              </a:rPr>
              <a:t>Deaths</a:t>
            </a:r>
            <a:r>
              <a:rPr sz="2800" b="1" spc="-75">
                <a:solidFill>
                  <a:srgbClr val="006232"/>
                </a:solidFill>
                <a:latin typeface="Arial"/>
                <a:cs typeface="Arial"/>
              </a:rPr>
              <a:t> </a:t>
            </a:r>
            <a:r>
              <a:rPr sz="2800" b="1" spc="-10">
                <a:solidFill>
                  <a:srgbClr val="006232"/>
                </a:solidFill>
                <a:latin typeface="Arial"/>
                <a:cs typeface="Arial"/>
              </a:rPr>
              <a:t>(173)</a:t>
            </a:r>
            <a:endParaRPr sz="28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433173" y="1200763"/>
            <a:ext cx="2148840" cy="1662430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0" rIns="0" bIns="0" rtlCol="0">
            <a:spAutoFit/>
          </a:bodyPr>
          <a:lstStyle/>
          <a:p>
            <a:pPr marL="91440">
              <a:lnSpc>
                <a:spcPts val="7155"/>
              </a:lnSpc>
            </a:pPr>
            <a:r>
              <a:rPr sz="6000" b="1" spc="-25">
                <a:solidFill>
                  <a:srgbClr val="7F7F7F"/>
                </a:solidFill>
                <a:latin typeface="Calibri"/>
                <a:cs typeface="Calibri"/>
              </a:rPr>
              <a:t>42%</a:t>
            </a:r>
            <a:endParaRPr sz="6000">
              <a:latin typeface="Calibri"/>
              <a:cs typeface="Calibri"/>
            </a:endParaRPr>
          </a:p>
          <a:p>
            <a:pPr marL="91440" marR="215900" algn="just">
              <a:lnSpc>
                <a:spcPct val="101400"/>
              </a:lnSpc>
              <a:spcBef>
                <a:spcPts val="280"/>
              </a:spcBef>
            </a:pP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Or</a:t>
            </a:r>
            <a:r>
              <a:rPr sz="1400" b="1" spc="-4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385723"/>
                </a:solidFill>
                <a:latin typeface="Calibri"/>
                <a:cs typeface="Calibri"/>
              </a:rPr>
              <a:t>72</a:t>
            </a:r>
            <a:r>
              <a:rPr sz="1400" b="1" spc="-40">
                <a:solidFill>
                  <a:srgbClr val="385723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infants</a:t>
            </a:r>
            <a:r>
              <a:rPr sz="1400" b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were</a:t>
            </a:r>
            <a:r>
              <a:rPr sz="1400" b="1" spc="-5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spc="-10">
                <a:solidFill>
                  <a:srgbClr val="7F7F7F"/>
                </a:solidFill>
                <a:latin typeface="Calibri"/>
                <a:cs typeface="Calibri"/>
              </a:rPr>
              <a:t>found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on</a:t>
            </a:r>
            <a:r>
              <a:rPr sz="1400" b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their</a:t>
            </a:r>
            <a:r>
              <a:rPr sz="1400" b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stomach</a:t>
            </a:r>
            <a:r>
              <a:rPr sz="1400" b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or</a:t>
            </a:r>
            <a:r>
              <a:rPr sz="1400" b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spc="-20">
                <a:solidFill>
                  <a:srgbClr val="7F7F7F"/>
                </a:solidFill>
                <a:latin typeface="Calibri"/>
                <a:cs typeface="Calibri"/>
              </a:rPr>
              <a:t>side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1400" b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their</a:t>
            </a:r>
            <a:r>
              <a:rPr sz="1400" b="1" spc="-2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sleep</a:t>
            </a:r>
            <a:r>
              <a:rPr sz="1400" b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spc="-10">
                <a:solidFill>
                  <a:srgbClr val="7F7F7F"/>
                </a:solidFill>
                <a:latin typeface="Calibri"/>
                <a:cs typeface="Calibri"/>
              </a:rPr>
              <a:t>space.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433173" y="3372166"/>
            <a:ext cx="2148840" cy="1662430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0" rIns="0" bIns="0" rtlCol="0">
            <a:spAutoFit/>
          </a:bodyPr>
          <a:lstStyle/>
          <a:p>
            <a:pPr marL="91440">
              <a:lnSpc>
                <a:spcPts val="7170"/>
              </a:lnSpc>
            </a:pPr>
            <a:r>
              <a:rPr sz="6000" b="1" spc="-25">
                <a:solidFill>
                  <a:srgbClr val="7F7F7F"/>
                </a:solidFill>
                <a:latin typeface="Calibri"/>
                <a:cs typeface="Calibri"/>
              </a:rPr>
              <a:t>85%</a:t>
            </a:r>
            <a:endParaRPr sz="6000">
              <a:latin typeface="Calibri"/>
              <a:cs typeface="Calibri"/>
            </a:endParaRPr>
          </a:p>
          <a:p>
            <a:pPr marL="91440" marR="123825" algn="just">
              <a:lnSpc>
                <a:spcPct val="100699"/>
              </a:lnSpc>
              <a:spcBef>
                <a:spcPts val="290"/>
              </a:spcBef>
            </a:pP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Or</a:t>
            </a:r>
            <a:r>
              <a:rPr sz="1400" b="1" spc="-4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385723"/>
                </a:solidFill>
                <a:latin typeface="Calibri"/>
                <a:cs typeface="Calibri"/>
              </a:rPr>
              <a:t>147</a:t>
            </a:r>
            <a:r>
              <a:rPr sz="1400" b="1" spc="-45">
                <a:solidFill>
                  <a:srgbClr val="385723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infants</a:t>
            </a:r>
            <a:r>
              <a:rPr sz="1400" b="1" spc="-4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were</a:t>
            </a:r>
            <a:r>
              <a:rPr sz="1400" b="1" spc="-4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spc="-20">
                <a:solidFill>
                  <a:srgbClr val="7F7F7F"/>
                </a:solidFill>
                <a:latin typeface="Calibri"/>
                <a:cs typeface="Calibri"/>
              </a:rPr>
              <a:t>found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1400" b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places</a:t>
            </a:r>
            <a:r>
              <a:rPr sz="1400" b="1" spc="-1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not</a:t>
            </a:r>
            <a:r>
              <a:rPr sz="1400" b="1" spc="-1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spc="-10">
                <a:solidFill>
                  <a:srgbClr val="7F7F7F"/>
                </a:solidFill>
                <a:latin typeface="Calibri"/>
                <a:cs typeface="Calibri"/>
              </a:rPr>
              <a:t>approved</a:t>
            </a:r>
            <a:r>
              <a:rPr sz="1400" b="1" spc="-2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spc="-25">
                <a:solidFill>
                  <a:srgbClr val="7F7F7F"/>
                </a:solidFill>
                <a:latin typeface="Calibri"/>
                <a:cs typeface="Calibri"/>
              </a:rPr>
              <a:t>for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infant</a:t>
            </a:r>
            <a:r>
              <a:rPr sz="1400" b="1" spc="-7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spc="-10">
                <a:solidFill>
                  <a:srgbClr val="7F7F7F"/>
                </a:solidFill>
                <a:latin typeface="Calibri"/>
                <a:cs typeface="Calibri"/>
              </a:rPr>
              <a:t>sleep.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345940" y="5173471"/>
            <a:ext cx="196850" cy="104076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100"/>
              </a:spcBef>
            </a:pPr>
            <a:r>
              <a:rPr sz="900" b="1" spc="-25">
                <a:solidFill>
                  <a:srgbClr val="FF0000"/>
                </a:solidFill>
                <a:latin typeface="Calibri"/>
                <a:cs typeface="Calibri"/>
              </a:rPr>
              <a:t>116</a:t>
            </a:r>
            <a:endParaRPr sz="900">
              <a:latin typeface="Calibri"/>
              <a:cs typeface="Calibri"/>
            </a:endParaRPr>
          </a:p>
          <a:p>
            <a:pPr marR="36830" algn="r">
              <a:lnSpc>
                <a:spcPct val="100000"/>
              </a:lnSpc>
              <a:spcBef>
                <a:spcPts val="25"/>
              </a:spcBef>
            </a:pPr>
            <a:r>
              <a:rPr sz="900" b="1" spc="-25">
                <a:solidFill>
                  <a:srgbClr val="FF0000"/>
                </a:solidFill>
                <a:latin typeface="Calibri"/>
                <a:cs typeface="Calibri"/>
              </a:rPr>
              <a:t>16</a:t>
            </a:r>
            <a:endParaRPr sz="900">
              <a:latin typeface="Calibri"/>
              <a:cs typeface="Calibri"/>
            </a:endParaRPr>
          </a:p>
          <a:p>
            <a:pPr marR="41910" algn="r">
              <a:lnSpc>
                <a:spcPct val="100000"/>
              </a:lnSpc>
              <a:spcBef>
                <a:spcPts val="120"/>
              </a:spcBef>
            </a:pPr>
            <a:r>
              <a:rPr sz="900" b="1" spc="-50">
                <a:solidFill>
                  <a:srgbClr val="FF0000"/>
                </a:solidFill>
                <a:latin typeface="Calibri"/>
                <a:cs typeface="Calibri"/>
              </a:rPr>
              <a:t>2</a:t>
            </a:r>
            <a:endParaRPr sz="900">
              <a:latin typeface="Calibri"/>
              <a:cs typeface="Calibri"/>
            </a:endParaRPr>
          </a:p>
          <a:p>
            <a:pPr marR="41910" algn="r">
              <a:lnSpc>
                <a:spcPct val="100000"/>
              </a:lnSpc>
              <a:spcBef>
                <a:spcPts val="20"/>
              </a:spcBef>
            </a:pPr>
            <a:r>
              <a:rPr sz="900" b="1" spc="-50">
                <a:solidFill>
                  <a:srgbClr val="FF0000"/>
                </a:solidFill>
                <a:latin typeface="Calibri"/>
                <a:cs typeface="Calibri"/>
              </a:rPr>
              <a:t>2</a:t>
            </a:r>
            <a:endParaRPr sz="900">
              <a:latin typeface="Calibri"/>
              <a:cs typeface="Calibri"/>
            </a:endParaRPr>
          </a:p>
          <a:p>
            <a:pPr marR="41910" algn="r">
              <a:lnSpc>
                <a:spcPct val="100000"/>
              </a:lnSpc>
              <a:spcBef>
                <a:spcPts val="120"/>
              </a:spcBef>
            </a:pPr>
            <a:r>
              <a:rPr sz="900" b="1" spc="-50">
                <a:solidFill>
                  <a:srgbClr val="FF0000"/>
                </a:solidFill>
                <a:latin typeface="Calibri"/>
                <a:cs typeface="Calibri"/>
              </a:rPr>
              <a:t>1</a:t>
            </a:r>
            <a:endParaRPr sz="900">
              <a:latin typeface="Calibri"/>
              <a:cs typeface="Calibri"/>
            </a:endParaRPr>
          </a:p>
          <a:p>
            <a:pPr marR="41910" algn="r">
              <a:lnSpc>
                <a:spcPct val="100000"/>
              </a:lnSpc>
              <a:spcBef>
                <a:spcPts val="25"/>
              </a:spcBef>
            </a:pPr>
            <a:r>
              <a:rPr sz="900" b="1" spc="-50">
                <a:solidFill>
                  <a:srgbClr val="FF0000"/>
                </a:solidFill>
                <a:latin typeface="Calibri"/>
                <a:cs typeface="Calibri"/>
              </a:rPr>
              <a:t>1</a:t>
            </a:r>
            <a:endParaRPr sz="900">
              <a:latin typeface="Calibri"/>
              <a:cs typeface="Calibri"/>
            </a:endParaRPr>
          </a:p>
          <a:p>
            <a:pPr marR="41910" algn="r">
              <a:lnSpc>
                <a:spcPct val="100000"/>
              </a:lnSpc>
              <a:spcBef>
                <a:spcPts val="120"/>
              </a:spcBef>
            </a:pPr>
            <a:r>
              <a:rPr sz="900" b="1" spc="-50">
                <a:solidFill>
                  <a:srgbClr val="FF0000"/>
                </a:solidFill>
                <a:latin typeface="Calibri"/>
                <a:cs typeface="Calibri"/>
              </a:rPr>
              <a:t>9</a:t>
            </a:r>
            <a:endParaRPr sz="90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803140" y="5173471"/>
            <a:ext cx="824230" cy="1040765"/>
          </a:xfrm>
          <a:prstGeom prst="rect">
            <a:avLst/>
          </a:prstGeom>
        </p:spPr>
        <p:txBody>
          <a:bodyPr vert="horz" wrap="square" lIns="0" tIns="5080" rIns="0" bIns="0" rtlCol="0">
            <a:spAutoFit/>
          </a:bodyPr>
          <a:lstStyle/>
          <a:p>
            <a:pPr marL="12700" marR="5080">
              <a:lnSpc>
                <a:spcPct val="105200"/>
              </a:lnSpc>
              <a:spcBef>
                <a:spcPts val="40"/>
              </a:spcBef>
            </a:pPr>
            <a:r>
              <a:rPr sz="900" b="1">
                <a:solidFill>
                  <a:srgbClr val="FF0000"/>
                </a:solidFill>
                <a:latin typeface="Calibri"/>
                <a:cs typeface="Calibri"/>
              </a:rPr>
              <a:t>Adult</a:t>
            </a:r>
            <a:r>
              <a:rPr sz="900" b="1" spc="-45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900" b="1" spc="-20">
                <a:solidFill>
                  <a:srgbClr val="FF0000"/>
                </a:solidFill>
                <a:latin typeface="Calibri"/>
                <a:cs typeface="Calibri"/>
              </a:rPr>
              <a:t>beds</a:t>
            </a:r>
            <a:r>
              <a:rPr sz="900" b="1" spc="50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900" b="1" spc="-10">
                <a:solidFill>
                  <a:srgbClr val="FF0000"/>
                </a:solidFill>
                <a:latin typeface="Calibri"/>
                <a:cs typeface="Calibri"/>
              </a:rPr>
              <a:t>Couches</a:t>
            </a:r>
            <a:r>
              <a:rPr sz="900" b="1" spc="50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900" b="1">
                <a:latin typeface="Calibri"/>
                <a:cs typeface="Calibri"/>
              </a:rPr>
              <a:t>Inclined</a:t>
            </a:r>
            <a:r>
              <a:rPr sz="900" b="1" spc="-50">
                <a:latin typeface="Calibri"/>
                <a:cs typeface="Calibri"/>
              </a:rPr>
              <a:t> </a:t>
            </a:r>
            <a:r>
              <a:rPr sz="900" b="1" spc="-10">
                <a:latin typeface="Calibri"/>
                <a:cs typeface="Calibri"/>
              </a:rPr>
              <a:t>sleepers</a:t>
            </a:r>
            <a:r>
              <a:rPr sz="900" b="1" spc="500">
                <a:latin typeface="Calibri"/>
                <a:cs typeface="Calibri"/>
              </a:rPr>
              <a:t> </a:t>
            </a:r>
            <a:r>
              <a:rPr sz="900" b="1" spc="-10">
                <a:latin typeface="Calibri"/>
                <a:cs typeface="Calibri"/>
              </a:rPr>
              <a:t>Carseats</a:t>
            </a:r>
            <a:endParaRPr sz="900">
              <a:latin typeface="Calibri"/>
              <a:cs typeface="Calibri"/>
            </a:endParaRPr>
          </a:p>
          <a:p>
            <a:pPr marL="12700" marR="479425" algn="just">
              <a:lnSpc>
                <a:spcPct val="106700"/>
              </a:lnSpc>
              <a:spcBef>
                <a:spcPts val="50"/>
              </a:spcBef>
            </a:pPr>
            <a:r>
              <a:rPr sz="900" b="1" spc="-10">
                <a:latin typeface="Calibri"/>
                <a:cs typeface="Calibri"/>
              </a:rPr>
              <a:t>Floor</a:t>
            </a:r>
            <a:r>
              <a:rPr sz="900" b="1" spc="500">
                <a:latin typeface="Calibri"/>
                <a:cs typeface="Calibri"/>
              </a:rPr>
              <a:t> </a:t>
            </a:r>
            <a:r>
              <a:rPr sz="900" b="1" spc="-10">
                <a:latin typeface="Calibri"/>
                <a:cs typeface="Calibri"/>
              </a:rPr>
              <a:t>Futon</a:t>
            </a:r>
            <a:r>
              <a:rPr sz="900" b="1" spc="500">
                <a:latin typeface="Calibri"/>
                <a:cs typeface="Calibri"/>
              </a:rPr>
              <a:t> </a:t>
            </a:r>
            <a:r>
              <a:rPr sz="900" b="1" spc="-10">
                <a:latin typeface="Calibri"/>
                <a:cs typeface="Calibri"/>
              </a:rPr>
              <a:t>Others</a:t>
            </a:r>
            <a:endParaRPr sz="900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158949" y="1133246"/>
            <a:ext cx="1989455" cy="1877695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0" rIns="0" bIns="0" rtlCol="0">
            <a:spAutoFit/>
          </a:bodyPr>
          <a:lstStyle/>
          <a:p>
            <a:pPr marL="90805">
              <a:lnSpc>
                <a:spcPts val="7155"/>
              </a:lnSpc>
            </a:pPr>
            <a:r>
              <a:rPr sz="6000" b="1" spc="-25">
                <a:solidFill>
                  <a:srgbClr val="7F7F7F"/>
                </a:solidFill>
                <a:latin typeface="Calibri"/>
                <a:cs typeface="Calibri"/>
              </a:rPr>
              <a:t>68%</a:t>
            </a:r>
            <a:endParaRPr sz="6000">
              <a:latin typeface="Calibri"/>
              <a:cs typeface="Calibri"/>
            </a:endParaRPr>
          </a:p>
          <a:p>
            <a:pPr marL="90805" marR="156210">
              <a:lnSpc>
                <a:spcPct val="101000"/>
              </a:lnSpc>
              <a:spcBef>
                <a:spcPts val="285"/>
              </a:spcBef>
            </a:pP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Or</a:t>
            </a:r>
            <a:r>
              <a:rPr sz="1400" b="1" spc="-4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385723"/>
                </a:solidFill>
                <a:latin typeface="Calibri"/>
                <a:cs typeface="Calibri"/>
              </a:rPr>
              <a:t>117</a:t>
            </a:r>
            <a:r>
              <a:rPr sz="1400" b="1" spc="-40">
                <a:solidFill>
                  <a:srgbClr val="385723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infants</a:t>
            </a:r>
            <a:r>
              <a:rPr sz="1400" b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spc="-20">
                <a:solidFill>
                  <a:srgbClr val="7F7F7F"/>
                </a:solidFill>
                <a:latin typeface="Calibri"/>
                <a:cs typeface="Calibri"/>
              </a:rPr>
              <a:t>were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sleeping</a:t>
            </a:r>
            <a:r>
              <a:rPr sz="1400" b="1" spc="-4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with</a:t>
            </a:r>
            <a:r>
              <a:rPr sz="1400" b="1" spc="-4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spc="-10">
                <a:solidFill>
                  <a:srgbClr val="7F7F7F"/>
                </a:solidFill>
                <a:latin typeface="Calibri"/>
                <a:cs typeface="Calibri"/>
              </a:rPr>
              <a:t>another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person,</a:t>
            </a:r>
            <a:r>
              <a:rPr sz="1400" b="1" spc="-7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increasing</a:t>
            </a:r>
            <a:r>
              <a:rPr sz="1400" b="1" spc="-7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spc="-20">
                <a:solidFill>
                  <a:srgbClr val="7F7F7F"/>
                </a:solidFill>
                <a:latin typeface="Calibri"/>
                <a:cs typeface="Calibri"/>
              </a:rPr>
              <a:t>their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risk</a:t>
            </a:r>
            <a:r>
              <a:rPr sz="1400" b="1" spc="-1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of</a:t>
            </a:r>
            <a:r>
              <a:rPr sz="1400" b="1" spc="-2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spc="-10">
                <a:solidFill>
                  <a:srgbClr val="7F7F7F"/>
                </a:solidFill>
                <a:latin typeface="Calibri"/>
                <a:cs typeface="Calibri"/>
              </a:rPr>
              <a:t>suffocation.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7158949" y="3372165"/>
            <a:ext cx="2131060" cy="1662430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0" rIns="0" bIns="0" rtlCol="0">
            <a:spAutoFit/>
          </a:bodyPr>
          <a:lstStyle/>
          <a:p>
            <a:pPr marL="90805">
              <a:lnSpc>
                <a:spcPts val="7170"/>
              </a:lnSpc>
            </a:pPr>
            <a:r>
              <a:rPr sz="6000" b="1" spc="-25">
                <a:solidFill>
                  <a:srgbClr val="7F7F7F"/>
                </a:solidFill>
                <a:latin typeface="Calibri"/>
                <a:cs typeface="Calibri"/>
              </a:rPr>
              <a:t>91%</a:t>
            </a:r>
            <a:endParaRPr sz="6000">
              <a:latin typeface="Calibri"/>
              <a:cs typeface="Calibri"/>
            </a:endParaRPr>
          </a:p>
          <a:p>
            <a:pPr marL="90805" marR="261620">
              <a:lnSpc>
                <a:spcPct val="100699"/>
              </a:lnSpc>
              <a:spcBef>
                <a:spcPts val="290"/>
              </a:spcBef>
            </a:pP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Or</a:t>
            </a:r>
            <a:r>
              <a:rPr sz="1400" b="1" spc="-4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385723"/>
                </a:solidFill>
                <a:latin typeface="Calibri"/>
                <a:cs typeface="Calibri"/>
              </a:rPr>
              <a:t>158</a:t>
            </a:r>
            <a:r>
              <a:rPr sz="1400" b="1" spc="-40">
                <a:solidFill>
                  <a:srgbClr val="385723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infants</a:t>
            </a:r>
            <a:r>
              <a:rPr sz="1400" b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spc="-20">
                <a:solidFill>
                  <a:srgbClr val="7F7F7F"/>
                </a:solidFill>
                <a:latin typeface="Calibri"/>
                <a:cs typeface="Calibri"/>
              </a:rPr>
              <a:t>were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found</a:t>
            </a:r>
            <a:r>
              <a:rPr sz="1400" b="1" spc="-4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with</a:t>
            </a:r>
            <a:r>
              <a:rPr sz="1400" b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soft</a:t>
            </a:r>
            <a:r>
              <a:rPr sz="1400" b="1" spc="-35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spc="-10">
                <a:solidFill>
                  <a:srgbClr val="7F7F7F"/>
                </a:solidFill>
                <a:latin typeface="Calibri"/>
                <a:cs typeface="Calibri"/>
              </a:rPr>
              <a:t>bedding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in</a:t>
            </a:r>
            <a:r>
              <a:rPr sz="1400" b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their</a:t>
            </a:r>
            <a:r>
              <a:rPr sz="1400" b="1" spc="-2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>
                <a:solidFill>
                  <a:srgbClr val="7F7F7F"/>
                </a:solidFill>
                <a:latin typeface="Calibri"/>
                <a:cs typeface="Calibri"/>
              </a:rPr>
              <a:t>sleep</a:t>
            </a:r>
            <a:r>
              <a:rPr sz="1400" b="1" spc="-30">
                <a:solidFill>
                  <a:srgbClr val="7F7F7F"/>
                </a:solidFill>
                <a:latin typeface="Calibri"/>
                <a:cs typeface="Calibri"/>
              </a:rPr>
              <a:t> </a:t>
            </a:r>
            <a:r>
              <a:rPr sz="1400" b="1" spc="-10">
                <a:solidFill>
                  <a:srgbClr val="7F7F7F"/>
                </a:solidFill>
                <a:latin typeface="Calibri"/>
                <a:cs typeface="Calibri"/>
              </a:rPr>
              <a:t>space.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322057" y="5726414"/>
            <a:ext cx="2268855" cy="75438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99400"/>
              </a:lnSpc>
              <a:spcBef>
                <a:spcPts val="105"/>
              </a:spcBef>
            </a:pPr>
            <a:r>
              <a:rPr sz="1200" i="1" dirty="0">
                <a:latin typeface="Calibri"/>
                <a:cs typeface="Calibri"/>
              </a:rPr>
              <a:t>10</a:t>
            </a:r>
            <a:r>
              <a:rPr sz="1200" i="1" spc="-25" dirty="0">
                <a:latin typeface="Calibri"/>
                <a:cs typeface="Calibri"/>
              </a:rPr>
              <a:t> </a:t>
            </a:r>
            <a:r>
              <a:rPr sz="1200" i="1" dirty="0">
                <a:latin typeface="Calibri"/>
                <a:cs typeface="Calibri"/>
              </a:rPr>
              <a:t>SUID</a:t>
            </a:r>
            <a:r>
              <a:rPr sz="1200" i="1" spc="-30" dirty="0">
                <a:latin typeface="Calibri"/>
                <a:cs typeface="Calibri"/>
              </a:rPr>
              <a:t> </a:t>
            </a:r>
            <a:r>
              <a:rPr sz="1200" i="1" dirty="0">
                <a:latin typeface="Calibri"/>
                <a:cs typeface="Calibri"/>
              </a:rPr>
              <a:t>occurred</a:t>
            </a:r>
            <a:r>
              <a:rPr sz="1200" i="1" spc="-30" dirty="0">
                <a:latin typeface="Calibri"/>
                <a:cs typeface="Calibri"/>
              </a:rPr>
              <a:t> </a:t>
            </a:r>
            <a:r>
              <a:rPr sz="1200" i="1" dirty="0">
                <a:latin typeface="Calibri"/>
                <a:cs typeface="Calibri"/>
              </a:rPr>
              <a:t>in</a:t>
            </a:r>
            <a:r>
              <a:rPr sz="1200" i="1" spc="-35" dirty="0">
                <a:latin typeface="Calibri"/>
                <a:cs typeface="Calibri"/>
              </a:rPr>
              <a:t> </a:t>
            </a:r>
            <a:r>
              <a:rPr sz="1200" i="1" dirty="0">
                <a:latin typeface="Calibri"/>
                <a:cs typeface="Calibri"/>
              </a:rPr>
              <a:t>”baby</a:t>
            </a:r>
            <a:r>
              <a:rPr sz="1200" i="1" spc="-25" dirty="0">
                <a:latin typeface="Calibri"/>
                <a:cs typeface="Calibri"/>
              </a:rPr>
              <a:t> </a:t>
            </a:r>
            <a:r>
              <a:rPr sz="1200" i="1" spc="-10" dirty="0">
                <a:latin typeface="Calibri"/>
                <a:cs typeface="Calibri"/>
              </a:rPr>
              <a:t>lounger” </a:t>
            </a:r>
            <a:r>
              <a:rPr sz="1200" i="1" dirty="0">
                <a:latin typeface="Calibri"/>
                <a:cs typeface="Calibri"/>
              </a:rPr>
              <a:t>products,</a:t>
            </a:r>
            <a:r>
              <a:rPr sz="1200" i="1" spc="-25" dirty="0">
                <a:latin typeface="Calibri"/>
                <a:cs typeface="Calibri"/>
              </a:rPr>
              <a:t> </a:t>
            </a:r>
            <a:r>
              <a:rPr sz="1200" i="1" dirty="0">
                <a:latin typeface="Calibri"/>
                <a:cs typeface="Calibri"/>
              </a:rPr>
              <a:t>such</a:t>
            </a:r>
            <a:r>
              <a:rPr sz="1200" i="1" spc="-30" dirty="0">
                <a:latin typeface="Calibri"/>
                <a:cs typeface="Calibri"/>
              </a:rPr>
              <a:t> </a:t>
            </a:r>
            <a:r>
              <a:rPr sz="1200" i="1" dirty="0">
                <a:latin typeface="Calibri"/>
                <a:cs typeface="Calibri"/>
              </a:rPr>
              <a:t>as</a:t>
            </a:r>
            <a:r>
              <a:rPr sz="1200" i="1" spc="-30" dirty="0">
                <a:latin typeface="Calibri"/>
                <a:cs typeface="Calibri"/>
              </a:rPr>
              <a:t> </a:t>
            </a:r>
            <a:r>
              <a:rPr sz="1200" i="1" dirty="0" err="1">
                <a:latin typeface="Calibri"/>
                <a:cs typeface="Calibri"/>
              </a:rPr>
              <a:t>Boppy</a:t>
            </a:r>
            <a:r>
              <a:rPr sz="1200" i="1" spc="-25" dirty="0">
                <a:latin typeface="Calibri"/>
                <a:cs typeface="Calibri"/>
              </a:rPr>
              <a:t> </a:t>
            </a:r>
            <a:r>
              <a:rPr sz="1200" i="1" spc="-10" dirty="0">
                <a:latin typeface="Calibri"/>
                <a:cs typeface="Calibri"/>
              </a:rPr>
              <a:t>loungers, </a:t>
            </a:r>
            <a:r>
              <a:rPr sz="1200" i="1" spc="-20" dirty="0">
                <a:latin typeface="Calibri"/>
                <a:cs typeface="Calibri"/>
              </a:rPr>
              <a:t>Dock-</a:t>
            </a:r>
            <a:r>
              <a:rPr sz="1200" i="1" spc="-10" dirty="0">
                <a:latin typeface="Calibri"/>
                <a:cs typeface="Calibri"/>
              </a:rPr>
              <a:t>a-</a:t>
            </a:r>
            <a:r>
              <a:rPr sz="1200" i="1" spc="-20" dirty="0">
                <a:latin typeface="Calibri"/>
                <a:cs typeface="Calibri"/>
              </a:rPr>
              <a:t>Tot,</a:t>
            </a:r>
            <a:r>
              <a:rPr sz="1200" i="1" spc="-10" dirty="0">
                <a:latin typeface="Calibri"/>
                <a:cs typeface="Calibri"/>
              </a:rPr>
              <a:t> </a:t>
            </a:r>
            <a:r>
              <a:rPr sz="1200" i="1" spc="-20" dirty="0" err="1">
                <a:latin typeface="Calibri"/>
                <a:cs typeface="Calibri"/>
              </a:rPr>
              <a:t>Yoocaa</a:t>
            </a:r>
            <a:r>
              <a:rPr sz="1200" i="1" spc="-15" dirty="0">
                <a:latin typeface="Calibri"/>
                <a:cs typeface="Calibri"/>
              </a:rPr>
              <a:t> </a:t>
            </a:r>
            <a:r>
              <a:rPr sz="1200" i="1" dirty="0">
                <a:latin typeface="Calibri"/>
                <a:cs typeface="Calibri"/>
              </a:rPr>
              <a:t>and</a:t>
            </a:r>
            <a:r>
              <a:rPr sz="1200" i="1" spc="-10" dirty="0">
                <a:latin typeface="Calibri"/>
                <a:cs typeface="Calibri"/>
              </a:rPr>
              <a:t> </a:t>
            </a:r>
            <a:r>
              <a:rPr sz="1200" i="1" dirty="0">
                <a:latin typeface="Calibri"/>
                <a:cs typeface="Calibri"/>
              </a:rPr>
              <a:t>Snuggle</a:t>
            </a:r>
            <a:r>
              <a:rPr sz="1200" i="1" spc="-5" dirty="0">
                <a:latin typeface="Calibri"/>
                <a:cs typeface="Calibri"/>
              </a:rPr>
              <a:t> </a:t>
            </a:r>
            <a:r>
              <a:rPr sz="1200" i="1" spc="-25" dirty="0">
                <a:latin typeface="Calibri"/>
                <a:cs typeface="Calibri"/>
              </a:rPr>
              <a:t>Me </a:t>
            </a:r>
            <a:r>
              <a:rPr sz="1200" i="1" spc="-10" dirty="0">
                <a:latin typeface="Calibri"/>
                <a:cs typeface="Calibri"/>
              </a:rPr>
              <a:t>loungers.</a:t>
            </a:r>
            <a:endParaRPr sz="1200" dirty="0">
              <a:latin typeface="Calibri"/>
              <a:cs typeface="Calibri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CD4D050-DBD5-FE89-564E-BF548FF15CA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93"/>
          <a:stretch/>
        </p:blipFill>
        <p:spPr>
          <a:xfrm>
            <a:off x="3583215" y="1217417"/>
            <a:ext cx="2375096" cy="3845690"/>
          </a:xfrm>
          <a:prstGeom prst="rect">
            <a:avLst/>
          </a:prstGeom>
        </p:spPr>
      </p:pic>
      <p:sp>
        <p:nvSpPr>
          <p:cNvPr id="17" name="object 14">
            <a:extLst>
              <a:ext uri="{FF2B5EF4-FFF2-40B4-BE49-F238E27FC236}">
                <a16:creationId xmlns:a16="http://schemas.microsoft.com/office/drawing/2014/main" id="{B485032B-CB32-8377-74E1-6376A0AC9780}"/>
              </a:ext>
            </a:extLst>
          </p:cNvPr>
          <p:cNvSpPr txBox="1"/>
          <p:nvPr/>
        </p:nvSpPr>
        <p:spPr>
          <a:xfrm>
            <a:off x="2613025" y="5198396"/>
            <a:ext cx="1602740" cy="37907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99400"/>
              </a:lnSpc>
              <a:spcBef>
                <a:spcPts val="105"/>
              </a:spcBef>
            </a:pPr>
            <a:r>
              <a:rPr lang="en-US" sz="1200" b="1" i="1">
                <a:solidFill>
                  <a:srgbClr val="FF0000"/>
                </a:solidFill>
                <a:latin typeface="Calibri"/>
                <a:cs typeface="Calibri"/>
              </a:rPr>
              <a:t>Number of babies found in each location:</a:t>
            </a:r>
            <a:endParaRPr lang="en-US" sz="1200" b="1">
              <a:solidFill>
                <a:srgbClr val="FF0000"/>
              </a:solidFill>
              <a:latin typeface="Calibri"/>
              <a:cs typeface="Calibri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2CD1635-CA32-5E20-D235-9C5DDE16C881}"/>
              </a:ext>
            </a:extLst>
          </p:cNvPr>
          <p:cNvSpPr/>
          <p:nvPr/>
        </p:nvSpPr>
        <p:spPr>
          <a:xfrm>
            <a:off x="4267200" y="5140492"/>
            <a:ext cx="1676400" cy="1184108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BF05D84-B270-B2E0-C9D4-AC08E351525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67800" y="1001383"/>
            <a:ext cx="2426010" cy="4197013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6D8CFEC-423A-661D-F9C8-608881054EB1}"/>
              </a:ext>
            </a:extLst>
          </p:cNvPr>
          <p:cNvCxnSpPr/>
          <p:nvPr/>
        </p:nvCxnSpPr>
        <p:spPr>
          <a:xfrm>
            <a:off x="914400" y="1371600"/>
            <a:ext cx="0" cy="144780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DBCF8D2-C530-7670-5722-076F9A6E25C4}"/>
              </a:ext>
            </a:extLst>
          </p:cNvPr>
          <p:cNvCxnSpPr/>
          <p:nvPr/>
        </p:nvCxnSpPr>
        <p:spPr>
          <a:xfrm>
            <a:off x="914400" y="3403092"/>
            <a:ext cx="0" cy="144780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7F1E1D9-E155-9A89-808C-66F9C6173C44}"/>
              </a:ext>
            </a:extLst>
          </p:cNvPr>
          <p:cNvCxnSpPr/>
          <p:nvPr/>
        </p:nvCxnSpPr>
        <p:spPr>
          <a:xfrm>
            <a:off x="6629400" y="1384409"/>
            <a:ext cx="0" cy="144780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27EE1EC-AAF8-30B7-CA46-BB661C5092F5}"/>
              </a:ext>
            </a:extLst>
          </p:cNvPr>
          <p:cNvCxnSpPr/>
          <p:nvPr/>
        </p:nvCxnSpPr>
        <p:spPr>
          <a:xfrm>
            <a:off x="6629400" y="3429000"/>
            <a:ext cx="0" cy="144780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webextension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62.png"/></Relationships>
</file>

<file path=ppt/webextensions/webextension1.xml><?xml version="1.0" encoding="utf-8"?>
<we:webextension xmlns:we="http://schemas.microsoft.com/office/webextensions/webextension/2010/11" id="{C0685452-A865-254C-ABE4-5343760BC00E}">
  <we:reference id="wa104295828" version="1.9.0.0" store="en-US" storeType="OMEX"/>
  <we:alternateReferences>
    <we:reference id="wa104295828" version="1.9.0.0" store="wa104295828" storeType="OMEX"/>
  </we:alternateReferences>
  <we:properties>
    <we:property name="__labs__" value="{&quot;configuration&quot;:{&quot;appVersion&quot;:{&quot;major&quot;:1,&quot;minor&quot;:0},&quot;components&quot;:[{&quot;type&quot;:&quot;Labs.Components.ActivityComponent&quot;,&quot;name&quot;:&quot;rush.edu/suid&quot;,&quot;values&quot;:{},&quot;data&quot;:{&quot;uri&quot;:&quot;rush.edu/suid&quot;},&quot;secure&quot;:false}],&quot;name&quot;:&quot;rush.edu/suid&quot;,&quot;timeline&quot;:null,&quot;analytics&quot;:null},&quot;hostVersion&quot;:{&quot;major&quot;:0,&quot;minor&quot;:1}}"/>
  </we:properties>
  <we:bindings/>
  <we:snapshot xmlns:r="http://schemas.openxmlformats.org/officeDocument/2006/relationships" r:embed="rId1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</TotalTime>
  <Words>3313</Words>
  <Application>Microsoft Macintosh PowerPoint</Application>
  <PresentationFormat>Widescreen</PresentationFormat>
  <Paragraphs>437</Paragraphs>
  <Slides>69</Slides>
  <Notes>2</Notes>
  <HiddenSlides>0</HiddenSlides>
  <MMClips>1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9</vt:i4>
      </vt:variant>
    </vt:vector>
  </HeadingPairs>
  <TitlesOfParts>
    <vt:vector size="93" baseType="lpstr">
      <vt:lpstr>Aptos</vt:lpstr>
      <vt:lpstr>Aptos Display</vt:lpstr>
      <vt:lpstr>Arial</vt:lpstr>
      <vt:lpstr>Calibri</vt:lpstr>
      <vt:lpstr>Calibri Light</vt:lpstr>
      <vt:lpstr>Cambria</vt:lpstr>
      <vt:lpstr>Georgia</vt:lpstr>
      <vt:lpstr>Helvetica Neue Medium</vt:lpstr>
      <vt:lpstr>Lato</vt:lpstr>
      <vt:lpstr>Open Sans</vt:lpstr>
      <vt:lpstr>Times</vt:lpstr>
      <vt:lpstr>Times New Roman</vt:lpstr>
      <vt:lpstr>Trebuchet MS</vt:lpstr>
      <vt:lpstr>Verdana</vt:lpstr>
      <vt:lpstr>Wingdings</vt:lpstr>
      <vt:lpstr>Wingdings 3</vt:lpstr>
      <vt:lpstr>office theme</vt:lpstr>
      <vt:lpstr>3_Office Theme</vt:lpstr>
      <vt:lpstr>Office Theme</vt:lpstr>
      <vt:lpstr>Facet</vt:lpstr>
      <vt:lpstr>Office Theme</vt:lpstr>
      <vt:lpstr>Office Theme</vt:lpstr>
      <vt:lpstr>think-cell Slide</vt:lpstr>
      <vt:lpstr>Chart</vt:lpstr>
      <vt:lpstr>Promoting Safe Sleep in Illinois Hospitals </vt:lpstr>
      <vt:lpstr>Cook County Case Registry and Prevention 2019-2022</vt:lpstr>
      <vt:lpstr>What is the SUID Case Registry?</vt:lpstr>
      <vt:lpstr>PowerPoint Presentation</vt:lpstr>
      <vt:lpstr>The Sleep Environment</vt:lpstr>
      <vt:lpstr>Total deaths: 181</vt:lpstr>
      <vt:lpstr>PowerPoint Presentation</vt:lpstr>
      <vt:lpstr>PowerPoint Presentation</vt:lpstr>
      <vt:lpstr>Sleep-related Infant Deaths (173)</vt:lpstr>
      <vt:lpstr>Sleep-related SUID by Age (months)</vt:lpstr>
      <vt:lpstr>SUID Risk Factors</vt:lpstr>
      <vt:lpstr>SUID Disparities</vt:lpstr>
      <vt:lpstr>Preterm SUID</vt:lpstr>
      <vt:lpstr>PowerPoint Presentation</vt:lpstr>
      <vt:lpstr>Towards Prevention</vt:lpstr>
      <vt:lpstr>Contributors</vt:lpstr>
      <vt:lpstr>   Preventing SUID:  Turning Data to Action with CPASS Chicago</vt:lpstr>
      <vt:lpstr>CPASS CHICAGO SLEEPS SAFE!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afe Sleep Vide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tact Us!</vt:lpstr>
      <vt:lpstr>Closing the Loop to Prevent SUID: Birth Hospital Outreach Christie Lawrence DNP, RNC-NIC, APN/CNS  Gina Lowell MD, MPH Rojin Ahadi MPH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ata to Action: Creating a Birth Hospital Learning Community to Prevent SUID</vt:lpstr>
      <vt:lpstr>Barriers to Safe Sleep: Family Experiences in Chicago</vt:lpstr>
      <vt:lpstr>Cook County SUID Case Registry Workflo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bjectives</vt:lpstr>
      <vt:lpstr>PowerPoint Presentation</vt:lpstr>
      <vt:lpstr>Background – SUID rates per 100,000 live births</vt:lpstr>
      <vt:lpstr>PowerPoint Presentation</vt:lpstr>
      <vt:lpstr>Problem</vt:lpstr>
      <vt:lpstr>A face to every story – Preventing Harm</vt:lpstr>
      <vt:lpstr>Project Goals</vt:lpstr>
      <vt:lpstr>PowerPoint Presentation</vt:lpstr>
      <vt:lpstr>PowerPoint Presentation</vt:lpstr>
      <vt:lpstr>PowerPoint Presentation</vt:lpstr>
      <vt:lpstr>System Policy</vt:lpstr>
      <vt:lpstr>Staff Education</vt:lpstr>
      <vt:lpstr>Improvement Handbook</vt:lpstr>
      <vt:lpstr>Family Education</vt:lpstr>
      <vt:lpstr>Family Education</vt:lpstr>
      <vt:lpstr>Family Education</vt:lpstr>
      <vt:lpstr>Safe Sleep Collaborative</vt:lpstr>
      <vt:lpstr>Results</vt:lpstr>
      <vt:lpstr>PowerPoint Presentation</vt:lpstr>
      <vt:lpstr>PowerPoint Presentation</vt:lpstr>
      <vt:lpstr>PowerPoint Presentation</vt:lpstr>
      <vt:lpstr>Considerations</vt:lpstr>
      <vt:lpstr>Questions???</vt:lpstr>
      <vt:lpstr>Panel Discussion  Q &amp; 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Kiela Karina Moreno</cp:lastModifiedBy>
  <cp:revision>69</cp:revision>
  <dcterms:created xsi:type="dcterms:W3CDTF">2024-05-21T04:44:32Z</dcterms:created>
  <dcterms:modified xsi:type="dcterms:W3CDTF">2024-05-29T14:59:04Z</dcterms:modified>
</cp:coreProperties>
</file>